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1" r:id="rId4"/>
  </p:sldMasterIdLst>
  <p:notesMasterIdLst>
    <p:notesMasterId r:id="rId7"/>
  </p:notesMasterIdLst>
  <p:sldIdLst>
    <p:sldId id="2147375114" r:id="rId5"/>
    <p:sldId id="2147375116" r:id="rId6"/>
  </p:sldIdLst>
  <p:sldSz cx="9144000" cy="5143500" type="screen16x9"/>
  <p:notesSz cx="6858000" cy="9144000"/>
  <p:custDataLst>
    <p:tags r:id="rId8"/>
  </p:custDataLst>
  <p:defaultTextStyle>
    <a:defPPr>
      <a:defRPr lang="en-US"/>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k Howell" initials="JH" lastIdx="6" clrIdx="0">
    <p:extLst>
      <p:ext uri="{19B8F6BF-5375-455C-9EA6-DF929625EA0E}">
        <p15:presenceInfo xmlns:p15="http://schemas.microsoft.com/office/powerpoint/2012/main" userId="S::jack.howell@hk.zurich.com::b2f6494c-c278-4c21-8008-2b829b7b11b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67AE"/>
    <a:srgbClr val="84B6E8"/>
    <a:srgbClr val="D4E6F4"/>
    <a:srgbClr val="61A1E1"/>
    <a:srgbClr val="4F90CB"/>
    <a:srgbClr val="D2E4F6"/>
    <a:srgbClr val="D5CEB5"/>
    <a:srgbClr val="E7ECEB"/>
    <a:srgbClr val="A89F96"/>
    <a:srgbClr val="4F90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A19806-CD64-4375-9EA7-939EDDB50E03}" v="381" dt="2022-06-14T05:08:04.7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27" autoAdjust="0"/>
    <p:restoredTop sz="95226" autoAdjust="0"/>
  </p:normalViewPr>
  <p:slideViewPr>
    <p:cSldViewPr snapToGrid="0" snapToObjects="1">
      <p:cViewPr varScale="1">
        <p:scale>
          <a:sx n="103" d="100"/>
          <a:sy n="103" d="100"/>
        </p:scale>
        <p:origin x="1061" y="82"/>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p:cViewPr varScale="1">
        <p:scale>
          <a:sx n="59" d="100"/>
          <a:sy n="59" d="100"/>
        </p:scale>
        <p:origin x="3226"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jat Taneja" userId="4ec436a0-470b-456a-af42-a15c99f1cebd" providerId="ADAL" clId="{3EA19806-CD64-4375-9EA7-939EDDB50E03}"/>
    <pc:docChg chg="undo custSel addSld delSld modSld modMainMaster replTag">
      <pc:chgData name="Rajat Taneja" userId="4ec436a0-470b-456a-af42-a15c99f1cebd" providerId="ADAL" clId="{3EA19806-CD64-4375-9EA7-939EDDB50E03}" dt="2022-08-15T22:41:31.901" v="3417" actId="20577"/>
      <pc:docMkLst>
        <pc:docMk/>
      </pc:docMkLst>
      <pc:sldChg chg="del">
        <pc:chgData name="Rajat Taneja" userId="4ec436a0-470b-456a-af42-a15c99f1cebd" providerId="ADAL" clId="{3EA19806-CD64-4375-9EA7-939EDDB50E03}" dt="2022-04-06T02:38:00.810" v="1792" actId="47"/>
        <pc:sldMkLst>
          <pc:docMk/>
          <pc:sldMk cId="1943144771" sldId="256"/>
        </pc:sldMkLst>
      </pc:sldChg>
      <pc:sldChg chg="del">
        <pc:chgData name="Rajat Taneja" userId="4ec436a0-470b-456a-af42-a15c99f1cebd" providerId="ADAL" clId="{3EA19806-CD64-4375-9EA7-939EDDB50E03}" dt="2022-04-06T02:04:48.610" v="1497" actId="47"/>
        <pc:sldMkLst>
          <pc:docMk/>
          <pc:sldMk cId="2622930909" sldId="258"/>
        </pc:sldMkLst>
      </pc:sldChg>
      <pc:sldChg chg="del">
        <pc:chgData name="Rajat Taneja" userId="4ec436a0-470b-456a-af42-a15c99f1cebd" providerId="ADAL" clId="{3EA19806-CD64-4375-9EA7-939EDDB50E03}" dt="2022-04-06T01:18:50.828" v="0" actId="47"/>
        <pc:sldMkLst>
          <pc:docMk/>
          <pc:sldMk cId="0" sldId="261"/>
        </pc:sldMkLst>
      </pc:sldChg>
      <pc:sldChg chg="del">
        <pc:chgData name="Rajat Taneja" userId="4ec436a0-470b-456a-af42-a15c99f1cebd" providerId="ADAL" clId="{3EA19806-CD64-4375-9EA7-939EDDB50E03}" dt="2022-04-06T01:18:51.346" v="1" actId="47"/>
        <pc:sldMkLst>
          <pc:docMk/>
          <pc:sldMk cId="0" sldId="262"/>
        </pc:sldMkLst>
      </pc:sldChg>
      <pc:sldChg chg="del">
        <pc:chgData name="Rajat Taneja" userId="4ec436a0-470b-456a-af42-a15c99f1cebd" providerId="ADAL" clId="{3EA19806-CD64-4375-9EA7-939EDDB50E03}" dt="2022-04-06T01:18:51.908" v="2" actId="47"/>
        <pc:sldMkLst>
          <pc:docMk/>
          <pc:sldMk cId="0" sldId="263"/>
        </pc:sldMkLst>
      </pc:sldChg>
      <pc:sldChg chg="del">
        <pc:chgData name="Rajat Taneja" userId="4ec436a0-470b-456a-af42-a15c99f1cebd" providerId="ADAL" clId="{3EA19806-CD64-4375-9EA7-939EDDB50E03}" dt="2022-04-06T01:18:55.431" v="3" actId="47"/>
        <pc:sldMkLst>
          <pc:docMk/>
          <pc:sldMk cId="0" sldId="264"/>
        </pc:sldMkLst>
      </pc:sldChg>
      <pc:sldChg chg="del">
        <pc:chgData name="Rajat Taneja" userId="4ec436a0-470b-456a-af42-a15c99f1cebd" providerId="ADAL" clId="{3EA19806-CD64-4375-9EA7-939EDDB50E03}" dt="2022-04-06T02:04:44.703" v="1491" actId="47"/>
        <pc:sldMkLst>
          <pc:docMk/>
          <pc:sldMk cId="2336088511" sldId="1291"/>
        </pc:sldMkLst>
      </pc:sldChg>
      <pc:sldChg chg="del">
        <pc:chgData name="Rajat Taneja" userId="4ec436a0-470b-456a-af42-a15c99f1cebd" providerId="ADAL" clId="{3EA19806-CD64-4375-9EA7-939EDDB50E03}" dt="2022-04-06T02:04:47.353" v="1495" actId="47"/>
        <pc:sldMkLst>
          <pc:docMk/>
          <pc:sldMk cId="1122139608" sldId="2142532628"/>
        </pc:sldMkLst>
      </pc:sldChg>
      <pc:sldChg chg="del">
        <pc:chgData name="Rajat Taneja" userId="4ec436a0-470b-456a-af42-a15c99f1cebd" providerId="ADAL" clId="{3EA19806-CD64-4375-9EA7-939EDDB50E03}" dt="2022-04-06T01:18:56.825" v="4" actId="47"/>
        <pc:sldMkLst>
          <pc:docMk/>
          <pc:sldMk cId="3361734087" sldId="2147375091"/>
        </pc:sldMkLst>
      </pc:sldChg>
      <pc:sldChg chg="del">
        <pc:chgData name="Rajat Taneja" userId="4ec436a0-470b-456a-af42-a15c99f1cebd" providerId="ADAL" clId="{3EA19806-CD64-4375-9EA7-939EDDB50E03}" dt="2022-04-06T02:04:47.947" v="1496" actId="47"/>
        <pc:sldMkLst>
          <pc:docMk/>
          <pc:sldMk cId="1099970059" sldId="2147375093"/>
        </pc:sldMkLst>
      </pc:sldChg>
      <pc:sldChg chg="del">
        <pc:chgData name="Rajat Taneja" userId="4ec436a0-470b-456a-af42-a15c99f1cebd" providerId="ADAL" clId="{3EA19806-CD64-4375-9EA7-939EDDB50E03}" dt="2022-04-06T02:04:45.836" v="1493" actId="47"/>
        <pc:sldMkLst>
          <pc:docMk/>
          <pc:sldMk cId="353912550" sldId="2147375099"/>
        </pc:sldMkLst>
      </pc:sldChg>
      <pc:sldChg chg="del">
        <pc:chgData name="Rajat Taneja" userId="4ec436a0-470b-456a-af42-a15c99f1cebd" providerId="ADAL" clId="{3EA19806-CD64-4375-9EA7-939EDDB50E03}" dt="2022-04-06T01:18:57.826" v="5" actId="47"/>
        <pc:sldMkLst>
          <pc:docMk/>
          <pc:sldMk cId="86544512" sldId="2147375102"/>
        </pc:sldMkLst>
      </pc:sldChg>
      <pc:sldChg chg="del">
        <pc:chgData name="Rajat Taneja" userId="4ec436a0-470b-456a-af42-a15c99f1cebd" providerId="ADAL" clId="{3EA19806-CD64-4375-9EA7-939EDDB50E03}" dt="2022-04-06T02:04:46.433" v="1494" actId="47"/>
        <pc:sldMkLst>
          <pc:docMk/>
          <pc:sldMk cId="726639715" sldId="2147375104"/>
        </pc:sldMkLst>
      </pc:sldChg>
      <pc:sldChg chg="delSp modSp del">
        <pc:chgData name="Rajat Taneja" userId="4ec436a0-470b-456a-af42-a15c99f1cebd" providerId="ADAL" clId="{3EA19806-CD64-4375-9EA7-939EDDB50E03}" dt="2022-04-06T02:07:32.143" v="1499" actId="2696"/>
        <pc:sldMkLst>
          <pc:docMk/>
          <pc:sldMk cId="3398375986" sldId="2147375112"/>
        </pc:sldMkLst>
        <pc:spChg chg="mod topLvl">
          <ac:chgData name="Rajat Taneja" userId="4ec436a0-470b-456a-af42-a15c99f1cebd" providerId="ADAL" clId="{3EA19806-CD64-4375-9EA7-939EDDB50E03}" dt="2022-04-06T01:19:26.268" v="11" actId="165"/>
          <ac:spMkLst>
            <pc:docMk/>
            <pc:sldMk cId="3398375986" sldId="2147375112"/>
            <ac:spMk id="18" creationId="{272310F7-E064-4513-876B-9DB8D4563892}"/>
          </ac:spMkLst>
        </pc:spChg>
        <pc:spChg chg="mod topLvl">
          <ac:chgData name="Rajat Taneja" userId="4ec436a0-470b-456a-af42-a15c99f1cebd" providerId="ADAL" clId="{3EA19806-CD64-4375-9EA7-939EDDB50E03}" dt="2022-04-06T01:19:43.904" v="30" actId="165"/>
          <ac:spMkLst>
            <pc:docMk/>
            <pc:sldMk cId="3398375986" sldId="2147375112"/>
            <ac:spMk id="19" creationId="{3BEAFC88-4619-46E7-9245-39FC4560B07B}"/>
          </ac:spMkLst>
        </pc:spChg>
        <pc:spChg chg="mod topLvl">
          <ac:chgData name="Rajat Taneja" userId="4ec436a0-470b-456a-af42-a15c99f1cebd" providerId="ADAL" clId="{3EA19806-CD64-4375-9EA7-939EDDB50E03}" dt="2022-04-06T01:19:49.831" v="31" actId="165"/>
          <ac:spMkLst>
            <pc:docMk/>
            <pc:sldMk cId="3398375986" sldId="2147375112"/>
            <ac:spMk id="20" creationId="{0F4A395B-47F6-4B4A-8BFF-928E1D901865}"/>
          </ac:spMkLst>
        </pc:spChg>
        <pc:spChg chg="mod topLvl">
          <ac:chgData name="Rajat Taneja" userId="4ec436a0-470b-456a-af42-a15c99f1cebd" providerId="ADAL" clId="{3EA19806-CD64-4375-9EA7-939EDDB50E03}" dt="2022-04-06T01:19:54.210" v="32" actId="165"/>
          <ac:spMkLst>
            <pc:docMk/>
            <pc:sldMk cId="3398375986" sldId="2147375112"/>
            <ac:spMk id="21" creationId="{165ABD8C-72E9-40FD-BBF6-44BBC0014FE8}"/>
          </ac:spMkLst>
        </pc:spChg>
        <pc:spChg chg="mod topLvl">
          <ac:chgData name="Rajat Taneja" userId="4ec436a0-470b-456a-af42-a15c99f1cebd" providerId="ADAL" clId="{3EA19806-CD64-4375-9EA7-939EDDB50E03}" dt="2022-04-06T01:19:26.268" v="11" actId="165"/>
          <ac:spMkLst>
            <pc:docMk/>
            <pc:sldMk cId="3398375986" sldId="2147375112"/>
            <ac:spMk id="31" creationId="{63FB9ABB-A6F4-4B85-B622-6D37CFDA25DE}"/>
          </ac:spMkLst>
        </pc:spChg>
        <pc:spChg chg="mod topLvl">
          <ac:chgData name="Rajat Taneja" userId="4ec436a0-470b-456a-af42-a15c99f1cebd" providerId="ADAL" clId="{3EA19806-CD64-4375-9EA7-939EDDB50E03}" dt="2022-04-06T01:19:26.268" v="11" actId="165"/>
          <ac:spMkLst>
            <pc:docMk/>
            <pc:sldMk cId="3398375986" sldId="2147375112"/>
            <ac:spMk id="33" creationId="{ECECA9F9-CBBE-4A5D-89BF-B7F3A213EB78}"/>
          </ac:spMkLst>
        </pc:spChg>
        <pc:spChg chg="mod topLvl">
          <ac:chgData name="Rajat Taneja" userId="4ec436a0-470b-456a-af42-a15c99f1cebd" providerId="ADAL" clId="{3EA19806-CD64-4375-9EA7-939EDDB50E03}" dt="2022-04-06T01:19:43.904" v="30" actId="165"/>
          <ac:spMkLst>
            <pc:docMk/>
            <pc:sldMk cId="3398375986" sldId="2147375112"/>
            <ac:spMk id="34" creationId="{2207911F-70FB-4F2D-934D-913FAA391314}"/>
          </ac:spMkLst>
        </pc:spChg>
        <pc:spChg chg="mod topLvl">
          <ac:chgData name="Rajat Taneja" userId="4ec436a0-470b-456a-af42-a15c99f1cebd" providerId="ADAL" clId="{3EA19806-CD64-4375-9EA7-939EDDB50E03}" dt="2022-04-06T01:19:43.904" v="30" actId="165"/>
          <ac:spMkLst>
            <pc:docMk/>
            <pc:sldMk cId="3398375986" sldId="2147375112"/>
            <ac:spMk id="35" creationId="{5B53866B-2349-4466-A5C1-0BF04A5B5115}"/>
          </ac:spMkLst>
        </pc:spChg>
        <pc:spChg chg="mod topLvl">
          <ac:chgData name="Rajat Taneja" userId="4ec436a0-470b-456a-af42-a15c99f1cebd" providerId="ADAL" clId="{3EA19806-CD64-4375-9EA7-939EDDB50E03}" dt="2022-04-06T01:19:49.831" v="31" actId="165"/>
          <ac:spMkLst>
            <pc:docMk/>
            <pc:sldMk cId="3398375986" sldId="2147375112"/>
            <ac:spMk id="36" creationId="{3F9EDCBA-7EDB-4346-BE88-BBEE383A06E3}"/>
          </ac:spMkLst>
        </pc:spChg>
        <pc:spChg chg="mod topLvl">
          <ac:chgData name="Rajat Taneja" userId="4ec436a0-470b-456a-af42-a15c99f1cebd" providerId="ADAL" clId="{3EA19806-CD64-4375-9EA7-939EDDB50E03}" dt="2022-04-06T01:19:49.831" v="31" actId="165"/>
          <ac:spMkLst>
            <pc:docMk/>
            <pc:sldMk cId="3398375986" sldId="2147375112"/>
            <ac:spMk id="37" creationId="{CEC5F33B-C036-4D65-AD44-5BA526937B27}"/>
          </ac:spMkLst>
        </pc:spChg>
        <pc:spChg chg="mod topLvl">
          <ac:chgData name="Rajat Taneja" userId="4ec436a0-470b-456a-af42-a15c99f1cebd" providerId="ADAL" clId="{3EA19806-CD64-4375-9EA7-939EDDB50E03}" dt="2022-04-06T01:19:54.210" v="32" actId="165"/>
          <ac:spMkLst>
            <pc:docMk/>
            <pc:sldMk cId="3398375986" sldId="2147375112"/>
            <ac:spMk id="38" creationId="{EDE52BB4-4F79-425E-BD4B-9A18DE19A540}"/>
          </ac:spMkLst>
        </pc:spChg>
        <pc:spChg chg="mod topLvl">
          <ac:chgData name="Rajat Taneja" userId="4ec436a0-470b-456a-af42-a15c99f1cebd" providerId="ADAL" clId="{3EA19806-CD64-4375-9EA7-939EDDB50E03}" dt="2022-04-06T01:19:54.210" v="32" actId="165"/>
          <ac:spMkLst>
            <pc:docMk/>
            <pc:sldMk cId="3398375986" sldId="2147375112"/>
            <ac:spMk id="39" creationId="{6A742D45-1AFD-4F1F-B4EA-DC263D68E8B7}"/>
          </ac:spMkLst>
        </pc:spChg>
        <pc:grpChg chg="del">
          <ac:chgData name="Rajat Taneja" userId="4ec436a0-470b-456a-af42-a15c99f1cebd" providerId="ADAL" clId="{3EA19806-CD64-4375-9EA7-939EDDB50E03}" dt="2022-04-06T01:19:54.210" v="32" actId="165"/>
          <ac:grpSpMkLst>
            <pc:docMk/>
            <pc:sldMk cId="3398375986" sldId="2147375112"/>
            <ac:grpSpMk id="2" creationId="{3668ADF9-43B4-448D-A377-67B628F55F8F}"/>
          </ac:grpSpMkLst>
        </pc:grpChg>
        <pc:grpChg chg="del">
          <ac:chgData name="Rajat Taneja" userId="4ec436a0-470b-456a-af42-a15c99f1cebd" providerId="ADAL" clId="{3EA19806-CD64-4375-9EA7-939EDDB50E03}" dt="2022-04-06T01:19:49.831" v="31" actId="165"/>
          <ac:grpSpMkLst>
            <pc:docMk/>
            <pc:sldMk cId="3398375986" sldId="2147375112"/>
            <ac:grpSpMk id="9" creationId="{B7148496-EA42-4D0B-BBB9-D2493CFC596F}"/>
          </ac:grpSpMkLst>
        </pc:grpChg>
        <pc:grpChg chg="del">
          <ac:chgData name="Rajat Taneja" userId="4ec436a0-470b-456a-af42-a15c99f1cebd" providerId="ADAL" clId="{3EA19806-CD64-4375-9EA7-939EDDB50E03}" dt="2022-04-06T01:19:43.904" v="30" actId="165"/>
          <ac:grpSpMkLst>
            <pc:docMk/>
            <pc:sldMk cId="3398375986" sldId="2147375112"/>
            <ac:grpSpMk id="10" creationId="{659A1686-83D3-40C1-BC74-30E5AA2D4B90}"/>
          </ac:grpSpMkLst>
        </pc:grpChg>
        <pc:grpChg chg="del">
          <ac:chgData name="Rajat Taneja" userId="4ec436a0-470b-456a-af42-a15c99f1cebd" providerId="ADAL" clId="{3EA19806-CD64-4375-9EA7-939EDDB50E03}" dt="2022-04-06T01:19:26.268" v="11" actId="165"/>
          <ac:grpSpMkLst>
            <pc:docMk/>
            <pc:sldMk cId="3398375986" sldId="2147375112"/>
            <ac:grpSpMk id="11" creationId="{B5365966-B0DC-4578-953D-9043F426E9F8}"/>
          </ac:grpSpMkLst>
        </pc:grpChg>
        <pc:picChg chg="mod topLvl">
          <ac:chgData name="Rajat Taneja" userId="4ec436a0-470b-456a-af42-a15c99f1cebd" providerId="ADAL" clId="{3EA19806-CD64-4375-9EA7-939EDDB50E03}" dt="2022-04-06T01:19:26.268" v="11" actId="165"/>
          <ac:picMkLst>
            <pc:docMk/>
            <pc:sldMk cId="3398375986" sldId="2147375112"/>
            <ac:picMk id="5" creationId="{B9E2FC44-7291-4034-AA97-0A2D69BB8BEF}"/>
          </ac:picMkLst>
        </pc:picChg>
        <pc:picChg chg="mod topLvl">
          <ac:chgData name="Rajat Taneja" userId="4ec436a0-470b-456a-af42-a15c99f1cebd" providerId="ADAL" clId="{3EA19806-CD64-4375-9EA7-939EDDB50E03}" dt="2022-04-06T01:19:54.210" v="32" actId="165"/>
          <ac:picMkLst>
            <pc:docMk/>
            <pc:sldMk cId="3398375986" sldId="2147375112"/>
            <ac:picMk id="7" creationId="{7ADADA90-8406-42A9-BAC9-BDA5A855C602}"/>
          </ac:picMkLst>
        </pc:picChg>
        <pc:picChg chg="mod topLvl">
          <ac:chgData name="Rajat Taneja" userId="4ec436a0-470b-456a-af42-a15c99f1cebd" providerId="ADAL" clId="{3EA19806-CD64-4375-9EA7-939EDDB50E03}" dt="2022-04-06T01:19:49.831" v="31" actId="165"/>
          <ac:picMkLst>
            <pc:docMk/>
            <pc:sldMk cId="3398375986" sldId="2147375112"/>
            <ac:picMk id="12" creationId="{9CAA0070-B142-4DA0-BB11-0E85EE9E2D28}"/>
          </ac:picMkLst>
        </pc:picChg>
        <pc:picChg chg="mod topLvl">
          <ac:chgData name="Rajat Taneja" userId="4ec436a0-470b-456a-af42-a15c99f1cebd" providerId="ADAL" clId="{3EA19806-CD64-4375-9EA7-939EDDB50E03}" dt="2022-04-06T01:19:43.904" v="30" actId="165"/>
          <ac:picMkLst>
            <pc:docMk/>
            <pc:sldMk cId="3398375986" sldId="2147375112"/>
            <ac:picMk id="17" creationId="{4169C473-67FF-43F6-B641-92A32C593D50}"/>
          </ac:picMkLst>
        </pc:picChg>
      </pc:sldChg>
      <pc:sldChg chg="del">
        <pc:chgData name="Rajat Taneja" userId="4ec436a0-470b-456a-af42-a15c99f1cebd" providerId="ADAL" clId="{3EA19806-CD64-4375-9EA7-939EDDB50E03}" dt="2022-04-06T02:04:45.323" v="1492" actId="47"/>
        <pc:sldMkLst>
          <pc:docMk/>
          <pc:sldMk cId="675763070" sldId="2147375113"/>
        </pc:sldMkLst>
      </pc:sldChg>
      <pc:sldChg chg="new add del">
        <pc:chgData name="Rajat Taneja" userId="4ec436a0-470b-456a-af42-a15c99f1cebd" providerId="ADAL" clId="{3EA19806-CD64-4375-9EA7-939EDDB50E03}" dt="2022-04-06T01:19:03.751" v="8" actId="680"/>
        <pc:sldMkLst>
          <pc:docMk/>
          <pc:sldMk cId="1762392065" sldId="2147375114"/>
        </pc:sldMkLst>
      </pc:sldChg>
      <pc:sldChg chg="addSp delSp modSp new add mod">
        <pc:chgData name="Rajat Taneja" userId="4ec436a0-470b-456a-af42-a15c99f1cebd" providerId="ADAL" clId="{3EA19806-CD64-4375-9EA7-939EDDB50E03}" dt="2022-07-13T01:25:49.805" v="3407" actId="20577"/>
        <pc:sldMkLst>
          <pc:docMk/>
          <pc:sldMk cId="4069244474" sldId="2147375114"/>
        </pc:sldMkLst>
        <pc:spChg chg="mod">
          <ac:chgData name="Rajat Taneja" userId="4ec436a0-470b-456a-af42-a15c99f1cebd" providerId="ADAL" clId="{3EA19806-CD64-4375-9EA7-939EDDB50E03}" dt="2022-06-14T05:08:04.638" v="3360" actId="948"/>
          <ac:spMkLst>
            <pc:docMk/>
            <pc:sldMk cId="4069244474" sldId="2147375114"/>
            <ac:spMk id="2" creationId="{8769E820-132F-4CA8-97D8-51925C6F2D56}"/>
          </ac:spMkLst>
        </pc:spChg>
        <pc:spChg chg="del">
          <ac:chgData name="Rajat Taneja" userId="4ec436a0-470b-456a-af42-a15c99f1cebd" providerId="ADAL" clId="{3EA19806-CD64-4375-9EA7-939EDDB50E03}" dt="2022-04-06T05:21:48.676" v="1931" actId="478"/>
          <ac:spMkLst>
            <pc:docMk/>
            <pc:sldMk cId="4069244474" sldId="2147375114"/>
            <ac:spMk id="3" creationId="{B48F4F7E-1F73-4DAA-B736-3E052638A663}"/>
          </ac:spMkLst>
        </pc:spChg>
        <pc:spChg chg="add del mod modVis">
          <ac:chgData name="Rajat Taneja" userId="4ec436a0-470b-456a-af42-a15c99f1cebd" providerId="ADAL" clId="{3EA19806-CD64-4375-9EA7-939EDDB50E03}" dt="2022-06-14T05:08:03.697" v="3354"/>
          <ac:spMkLst>
            <pc:docMk/>
            <pc:sldMk cId="4069244474" sldId="2147375114"/>
            <ac:spMk id="3" creationId="{D55E13E6-0BA1-11F8-6F3C-ECBE630F1468}"/>
          </ac:spMkLst>
        </pc:spChg>
        <pc:spChg chg="del mod">
          <ac:chgData name="Rajat Taneja" userId="4ec436a0-470b-456a-af42-a15c99f1cebd" providerId="ADAL" clId="{3EA19806-CD64-4375-9EA7-939EDDB50E03}" dt="2022-04-06T01:34:33.404" v="587" actId="478"/>
          <ac:spMkLst>
            <pc:docMk/>
            <pc:sldMk cId="4069244474" sldId="2147375114"/>
            <ac:spMk id="4" creationId="{A785A502-2E16-4A6E-AE03-D84AF47DF63E}"/>
          </ac:spMkLst>
        </pc:spChg>
        <pc:spChg chg="add del mod modVis">
          <ac:chgData name="Rajat Taneja" userId="4ec436a0-470b-456a-af42-a15c99f1cebd" providerId="ADAL" clId="{3EA19806-CD64-4375-9EA7-939EDDB50E03}" dt="2022-06-14T05:08:04.732" v="3399"/>
          <ac:spMkLst>
            <pc:docMk/>
            <pc:sldMk cId="4069244474" sldId="2147375114"/>
            <ac:spMk id="4" creationId="{CAD45987-237E-11DA-70A0-66ECCD912244}"/>
          </ac:spMkLst>
        </pc:spChg>
        <pc:spChg chg="del">
          <ac:chgData name="Rajat Taneja" userId="4ec436a0-470b-456a-af42-a15c99f1cebd" providerId="ADAL" clId="{3EA19806-CD64-4375-9EA7-939EDDB50E03}" dt="2022-04-06T01:34:24.165" v="585" actId="478"/>
          <ac:spMkLst>
            <pc:docMk/>
            <pc:sldMk cId="4069244474" sldId="2147375114"/>
            <ac:spMk id="5" creationId="{22063035-F753-4F4B-8C1A-95C7347A340A}"/>
          </ac:spMkLst>
        </pc:spChg>
        <pc:spChg chg="add del mod modVis">
          <ac:chgData name="Rajat Taneja" userId="4ec436a0-470b-456a-af42-a15c99f1cebd" providerId="ADAL" clId="{3EA19806-CD64-4375-9EA7-939EDDB50E03}" dt="2022-04-06T01:20:46.155" v="88"/>
          <ac:spMkLst>
            <pc:docMk/>
            <pc:sldMk cId="4069244474" sldId="2147375114"/>
            <ac:spMk id="7" creationId="{E501743E-F8D7-4C7B-B8F8-5F65F718CA53}"/>
          </ac:spMkLst>
        </pc:spChg>
        <pc:spChg chg="add del mod modVis">
          <ac:chgData name="Rajat Taneja" userId="4ec436a0-470b-456a-af42-a15c99f1cebd" providerId="ADAL" clId="{3EA19806-CD64-4375-9EA7-939EDDB50E03}" dt="2022-04-06T01:20:47.142" v="133"/>
          <ac:spMkLst>
            <pc:docMk/>
            <pc:sldMk cId="4069244474" sldId="2147375114"/>
            <ac:spMk id="8" creationId="{4F001B93-D4B3-4016-801E-FADFAC0A1331}"/>
          </ac:spMkLst>
        </pc:spChg>
        <pc:spChg chg="add del mod modVis">
          <ac:chgData name="Rajat Taneja" userId="4ec436a0-470b-456a-af42-a15c99f1cebd" providerId="ADAL" clId="{3EA19806-CD64-4375-9EA7-939EDDB50E03}" dt="2022-04-06T01:20:48.901" v="182"/>
          <ac:spMkLst>
            <pc:docMk/>
            <pc:sldMk cId="4069244474" sldId="2147375114"/>
            <ac:spMk id="9" creationId="{813A57D8-BCB2-4166-9344-B93EFAC0DCFC}"/>
          </ac:spMkLst>
        </pc:spChg>
        <pc:spChg chg="add del mod modVis">
          <ac:chgData name="Rajat Taneja" userId="4ec436a0-470b-456a-af42-a15c99f1cebd" providerId="ADAL" clId="{3EA19806-CD64-4375-9EA7-939EDDB50E03}" dt="2022-04-06T01:20:49.547" v="226"/>
          <ac:spMkLst>
            <pc:docMk/>
            <pc:sldMk cId="4069244474" sldId="2147375114"/>
            <ac:spMk id="10" creationId="{B965362C-2EA9-44ED-B6CF-9DA3E07CDEAA}"/>
          </ac:spMkLst>
        </pc:spChg>
        <pc:spChg chg="add del mod modVis">
          <ac:chgData name="Rajat Taneja" userId="4ec436a0-470b-456a-af42-a15c99f1cebd" providerId="ADAL" clId="{3EA19806-CD64-4375-9EA7-939EDDB50E03}" dt="2022-04-06T01:20:51.101" v="274"/>
          <ac:spMkLst>
            <pc:docMk/>
            <pc:sldMk cId="4069244474" sldId="2147375114"/>
            <ac:spMk id="11" creationId="{07B11688-0E02-4D81-B947-0376DE6C8F85}"/>
          </ac:spMkLst>
        </pc:spChg>
        <pc:spChg chg="add del mod modVis">
          <ac:chgData name="Rajat Taneja" userId="4ec436a0-470b-456a-af42-a15c99f1cebd" providerId="ADAL" clId="{3EA19806-CD64-4375-9EA7-939EDDB50E03}" dt="2022-04-06T01:20:53.977" v="318"/>
          <ac:spMkLst>
            <pc:docMk/>
            <pc:sldMk cId="4069244474" sldId="2147375114"/>
            <ac:spMk id="12" creationId="{ED9DFDE6-29C9-4949-9845-81089C070518}"/>
          </ac:spMkLst>
        </pc:spChg>
        <pc:spChg chg="add del mod modVis">
          <ac:chgData name="Rajat Taneja" userId="4ec436a0-470b-456a-af42-a15c99f1cebd" providerId="ADAL" clId="{3EA19806-CD64-4375-9EA7-939EDDB50E03}" dt="2022-04-06T01:20:54.886" v="362"/>
          <ac:spMkLst>
            <pc:docMk/>
            <pc:sldMk cId="4069244474" sldId="2147375114"/>
            <ac:spMk id="13" creationId="{BB985845-AE42-499B-B05E-FE727CA8CABF}"/>
          </ac:spMkLst>
        </pc:spChg>
        <pc:spChg chg="add del mod modVis">
          <ac:chgData name="Rajat Taneja" userId="4ec436a0-470b-456a-af42-a15c99f1cebd" providerId="ADAL" clId="{3EA19806-CD64-4375-9EA7-939EDDB50E03}" dt="2022-04-06T01:20:56.047" v="406"/>
          <ac:spMkLst>
            <pc:docMk/>
            <pc:sldMk cId="4069244474" sldId="2147375114"/>
            <ac:spMk id="14" creationId="{204F6F2E-325E-4DC0-9E1C-500FA0E42E18}"/>
          </ac:spMkLst>
        </pc:spChg>
        <pc:spChg chg="add del mod modVis">
          <ac:chgData name="Rajat Taneja" userId="4ec436a0-470b-456a-af42-a15c99f1cebd" providerId="ADAL" clId="{3EA19806-CD64-4375-9EA7-939EDDB50E03}" dt="2022-04-06T01:20:56.380" v="450"/>
          <ac:spMkLst>
            <pc:docMk/>
            <pc:sldMk cId="4069244474" sldId="2147375114"/>
            <ac:spMk id="15" creationId="{F514274F-8CA3-4311-8097-060A497242D8}"/>
          </ac:spMkLst>
        </pc:spChg>
        <pc:spChg chg="add del mod modVis">
          <ac:chgData name="Rajat Taneja" userId="4ec436a0-470b-456a-af42-a15c99f1cebd" providerId="ADAL" clId="{3EA19806-CD64-4375-9EA7-939EDDB50E03}" dt="2022-04-06T01:20:58.234" v="498"/>
          <ac:spMkLst>
            <pc:docMk/>
            <pc:sldMk cId="4069244474" sldId="2147375114"/>
            <ac:spMk id="16" creationId="{CAAB4FC6-FBF4-4058-910E-6760810E252D}"/>
          </ac:spMkLst>
        </pc:spChg>
        <pc:spChg chg="add mod">
          <ac:chgData name="Rajat Taneja" userId="4ec436a0-470b-456a-af42-a15c99f1cebd" providerId="ADAL" clId="{3EA19806-CD64-4375-9EA7-939EDDB50E03}" dt="2022-04-06T04:30:13.775" v="1929" actId="465"/>
          <ac:spMkLst>
            <pc:docMk/>
            <pc:sldMk cId="4069244474" sldId="2147375114"/>
            <ac:spMk id="18" creationId="{A4313038-7482-495C-9042-4F1131D3C25E}"/>
          </ac:spMkLst>
        </pc:spChg>
        <pc:spChg chg="add mod">
          <ac:chgData name="Rajat Taneja" userId="4ec436a0-470b-456a-af42-a15c99f1cebd" providerId="ADAL" clId="{3EA19806-CD64-4375-9EA7-939EDDB50E03}" dt="2022-04-06T23:49:48.395" v="2133" actId="1036"/>
          <ac:spMkLst>
            <pc:docMk/>
            <pc:sldMk cId="4069244474" sldId="2147375114"/>
            <ac:spMk id="20" creationId="{431DF49F-0DCC-4473-8190-81156A02EDFD}"/>
          </ac:spMkLst>
        </pc:spChg>
        <pc:spChg chg="add mod">
          <ac:chgData name="Rajat Taneja" userId="4ec436a0-470b-456a-af42-a15c99f1cebd" providerId="ADAL" clId="{3EA19806-CD64-4375-9EA7-939EDDB50E03}" dt="2022-04-06T23:49:48.395" v="2133" actId="1036"/>
          <ac:spMkLst>
            <pc:docMk/>
            <pc:sldMk cId="4069244474" sldId="2147375114"/>
            <ac:spMk id="22" creationId="{B5583B19-6916-41E4-9DD6-388A7E0F0D3D}"/>
          </ac:spMkLst>
        </pc:spChg>
        <pc:spChg chg="add del mod">
          <ac:chgData name="Rajat Taneja" userId="4ec436a0-470b-456a-af42-a15c99f1cebd" providerId="ADAL" clId="{3EA19806-CD64-4375-9EA7-939EDDB50E03}" dt="2022-04-06T01:23:15.601" v="508" actId="478"/>
          <ac:spMkLst>
            <pc:docMk/>
            <pc:sldMk cId="4069244474" sldId="2147375114"/>
            <ac:spMk id="24" creationId="{CAB28A21-F7A8-4EE3-A712-56614A708DA7}"/>
          </ac:spMkLst>
        </pc:spChg>
        <pc:spChg chg="mod">
          <ac:chgData name="Rajat Taneja" userId="4ec436a0-470b-456a-af42-a15c99f1cebd" providerId="ADAL" clId="{3EA19806-CD64-4375-9EA7-939EDDB50E03}" dt="2022-04-06T23:49:48.395" v="2133" actId="1036"/>
          <ac:spMkLst>
            <pc:docMk/>
            <pc:sldMk cId="4069244474" sldId="2147375114"/>
            <ac:spMk id="26" creationId="{9FB59449-FC6B-4A6B-AD78-8D45C4418347}"/>
          </ac:spMkLst>
        </pc:spChg>
        <pc:spChg chg="mod">
          <ac:chgData name="Rajat Taneja" userId="4ec436a0-470b-456a-af42-a15c99f1cebd" providerId="ADAL" clId="{3EA19806-CD64-4375-9EA7-939EDDB50E03}" dt="2022-04-06T23:49:48.395" v="2133" actId="1036"/>
          <ac:spMkLst>
            <pc:docMk/>
            <pc:sldMk cId="4069244474" sldId="2147375114"/>
            <ac:spMk id="27" creationId="{FB2B2468-FE97-4820-9B83-C6E4346A439C}"/>
          </ac:spMkLst>
        </pc:spChg>
        <pc:spChg chg="mod">
          <ac:chgData name="Rajat Taneja" userId="4ec436a0-470b-456a-af42-a15c99f1cebd" providerId="ADAL" clId="{3EA19806-CD64-4375-9EA7-939EDDB50E03}" dt="2022-04-06T23:49:48.395" v="2133" actId="1036"/>
          <ac:spMkLst>
            <pc:docMk/>
            <pc:sldMk cId="4069244474" sldId="2147375114"/>
            <ac:spMk id="28" creationId="{F576C08E-BE54-49F3-BE3F-29EC364596C3}"/>
          </ac:spMkLst>
        </pc:spChg>
        <pc:spChg chg="mod">
          <ac:chgData name="Rajat Taneja" userId="4ec436a0-470b-456a-af42-a15c99f1cebd" providerId="ADAL" clId="{3EA19806-CD64-4375-9EA7-939EDDB50E03}" dt="2022-04-06T23:49:48.395" v="2133" actId="1036"/>
          <ac:spMkLst>
            <pc:docMk/>
            <pc:sldMk cId="4069244474" sldId="2147375114"/>
            <ac:spMk id="29" creationId="{11C66B8F-BC4F-4513-901A-30FDD2A5A382}"/>
          </ac:spMkLst>
        </pc:spChg>
        <pc:spChg chg="mod">
          <ac:chgData name="Rajat Taneja" userId="4ec436a0-470b-456a-af42-a15c99f1cebd" providerId="ADAL" clId="{3EA19806-CD64-4375-9EA7-939EDDB50E03}" dt="2022-04-06T23:49:48.395" v="2133" actId="1036"/>
          <ac:spMkLst>
            <pc:docMk/>
            <pc:sldMk cId="4069244474" sldId="2147375114"/>
            <ac:spMk id="30" creationId="{7C981228-F818-4F26-929A-98AF0B264779}"/>
          </ac:spMkLst>
        </pc:spChg>
        <pc:spChg chg="mod">
          <ac:chgData name="Rajat Taneja" userId="4ec436a0-470b-456a-af42-a15c99f1cebd" providerId="ADAL" clId="{3EA19806-CD64-4375-9EA7-939EDDB50E03}" dt="2022-04-06T23:49:48.395" v="2133" actId="1036"/>
          <ac:spMkLst>
            <pc:docMk/>
            <pc:sldMk cId="4069244474" sldId="2147375114"/>
            <ac:spMk id="31" creationId="{BD4E5664-03C8-4349-B87A-0F145EEEA134}"/>
          </ac:spMkLst>
        </pc:spChg>
        <pc:spChg chg="mod">
          <ac:chgData name="Rajat Taneja" userId="4ec436a0-470b-456a-af42-a15c99f1cebd" providerId="ADAL" clId="{3EA19806-CD64-4375-9EA7-939EDDB50E03}" dt="2022-04-06T23:49:48.395" v="2133" actId="1036"/>
          <ac:spMkLst>
            <pc:docMk/>
            <pc:sldMk cId="4069244474" sldId="2147375114"/>
            <ac:spMk id="32" creationId="{EA78AB5E-DDB5-4CEF-9171-151D5AA64878}"/>
          </ac:spMkLst>
        </pc:spChg>
        <pc:spChg chg="mod">
          <ac:chgData name="Rajat Taneja" userId="4ec436a0-470b-456a-af42-a15c99f1cebd" providerId="ADAL" clId="{3EA19806-CD64-4375-9EA7-939EDDB50E03}" dt="2022-04-06T23:49:48.395" v="2133" actId="1036"/>
          <ac:spMkLst>
            <pc:docMk/>
            <pc:sldMk cId="4069244474" sldId="2147375114"/>
            <ac:spMk id="33" creationId="{2C12B8C6-BD4C-4B9E-968E-EB4750499DD3}"/>
          </ac:spMkLst>
        </pc:spChg>
        <pc:spChg chg="mod">
          <ac:chgData name="Rajat Taneja" userId="4ec436a0-470b-456a-af42-a15c99f1cebd" providerId="ADAL" clId="{3EA19806-CD64-4375-9EA7-939EDDB50E03}" dt="2022-04-06T23:49:48.395" v="2133" actId="1036"/>
          <ac:spMkLst>
            <pc:docMk/>
            <pc:sldMk cId="4069244474" sldId="2147375114"/>
            <ac:spMk id="34" creationId="{3C867250-C253-4E58-BCE8-DD656A328603}"/>
          </ac:spMkLst>
        </pc:spChg>
        <pc:spChg chg="mod">
          <ac:chgData name="Rajat Taneja" userId="4ec436a0-470b-456a-af42-a15c99f1cebd" providerId="ADAL" clId="{3EA19806-CD64-4375-9EA7-939EDDB50E03}" dt="2022-04-06T23:49:48.395" v="2133" actId="1036"/>
          <ac:spMkLst>
            <pc:docMk/>
            <pc:sldMk cId="4069244474" sldId="2147375114"/>
            <ac:spMk id="35" creationId="{26854548-74E3-4F99-A2EE-CA35934735CD}"/>
          </ac:spMkLst>
        </pc:spChg>
        <pc:spChg chg="mod">
          <ac:chgData name="Rajat Taneja" userId="4ec436a0-470b-456a-af42-a15c99f1cebd" providerId="ADAL" clId="{3EA19806-CD64-4375-9EA7-939EDDB50E03}" dt="2022-04-06T23:49:48.395" v="2133" actId="1036"/>
          <ac:spMkLst>
            <pc:docMk/>
            <pc:sldMk cId="4069244474" sldId="2147375114"/>
            <ac:spMk id="36" creationId="{BB7AA02B-9E19-4CF1-AFF4-25AE9541594F}"/>
          </ac:spMkLst>
        </pc:spChg>
        <pc:spChg chg="mod">
          <ac:chgData name="Rajat Taneja" userId="4ec436a0-470b-456a-af42-a15c99f1cebd" providerId="ADAL" clId="{3EA19806-CD64-4375-9EA7-939EDDB50E03}" dt="2022-04-06T23:49:48.395" v="2133" actId="1036"/>
          <ac:spMkLst>
            <pc:docMk/>
            <pc:sldMk cId="4069244474" sldId="2147375114"/>
            <ac:spMk id="37" creationId="{405F7477-7A89-4538-A7F0-741D52D6BA40}"/>
          </ac:spMkLst>
        </pc:spChg>
        <pc:spChg chg="mod">
          <ac:chgData name="Rajat Taneja" userId="4ec436a0-470b-456a-af42-a15c99f1cebd" providerId="ADAL" clId="{3EA19806-CD64-4375-9EA7-939EDDB50E03}" dt="2022-04-06T23:49:48.395" v="2133" actId="1036"/>
          <ac:spMkLst>
            <pc:docMk/>
            <pc:sldMk cId="4069244474" sldId="2147375114"/>
            <ac:spMk id="38" creationId="{1663C653-4783-4AA2-850A-7EDF984C7C28}"/>
          </ac:spMkLst>
        </pc:spChg>
        <pc:spChg chg="mod">
          <ac:chgData name="Rajat Taneja" userId="4ec436a0-470b-456a-af42-a15c99f1cebd" providerId="ADAL" clId="{3EA19806-CD64-4375-9EA7-939EDDB50E03}" dt="2022-04-06T23:49:48.395" v="2133" actId="1036"/>
          <ac:spMkLst>
            <pc:docMk/>
            <pc:sldMk cId="4069244474" sldId="2147375114"/>
            <ac:spMk id="39" creationId="{5E5C17A4-E44C-434D-926C-D1535D235947}"/>
          </ac:spMkLst>
        </pc:spChg>
        <pc:spChg chg="mod">
          <ac:chgData name="Rajat Taneja" userId="4ec436a0-470b-456a-af42-a15c99f1cebd" providerId="ADAL" clId="{3EA19806-CD64-4375-9EA7-939EDDB50E03}" dt="2022-04-06T23:49:48.395" v="2133" actId="1036"/>
          <ac:spMkLst>
            <pc:docMk/>
            <pc:sldMk cId="4069244474" sldId="2147375114"/>
            <ac:spMk id="40" creationId="{3C9D3A9F-0A28-4A23-8A2C-0EE725A2750A}"/>
          </ac:spMkLst>
        </pc:spChg>
        <pc:spChg chg="mod">
          <ac:chgData name="Rajat Taneja" userId="4ec436a0-470b-456a-af42-a15c99f1cebd" providerId="ADAL" clId="{3EA19806-CD64-4375-9EA7-939EDDB50E03}" dt="2022-04-06T23:49:48.395" v="2133" actId="1036"/>
          <ac:spMkLst>
            <pc:docMk/>
            <pc:sldMk cId="4069244474" sldId="2147375114"/>
            <ac:spMk id="41" creationId="{53406476-B69B-4D3A-AA61-E5B58B4EC22A}"/>
          </ac:spMkLst>
        </pc:spChg>
        <pc:spChg chg="mod">
          <ac:chgData name="Rajat Taneja" userId="4ec436a0-470b-456a-af42-a15c99f1cebd" providerId="ADAL" clId="{3EA19806-CD64-4375-9EA7-939EDDB50E03}" dt="2022-04-06T23:49:48.395" v="2133" actId="1036"/>
          <ac:spMkLst>
            <pc:docMk/>
            <pc:sldMk cId="4069244474" sldId="2147375114"/>
            <ac:spMk id="42" creationId="{E2510A6B-1DA2-4DF6-AD83-A0077673B5DB}"/>
          </ac:spMkLst>
        </pc:spChg>
        <pc:spChg chg="mod">
          <ac:chgData name="Rajat Taneja" userId="4ec436a0-470b-456a-af42-a15c99f1cebd" providerId="ADAL" clId="{3EA19806-CD64-4375-9EA7-939EDDB50E03}" dt="2022-04-06T23:49:48.395" v="2133" actId="1036"/>
          <ac:spMkLst>
            <pc:docMk/>
            <pc:sldMk cId="4069244474" sldId="2147375114"/>
            <ac:spMk id="43" creationId="{07B6A31F-3694-4A68-802C-F69E2F6175A8}"/>
          </ac:spMkLst>
        </pc:spChg>
        <pc:spChg chg="mod">
          <ac:chgData name="Rajat Taneja" userId="4ec436a0-470b-456a-af42-a15c99f1cebd" providerId="ADAL" clId="{3EA19806-CD64-4375-9EA7-939EDDB50E03}" dt="2022-04-06T23:49:48.395" v="2133" actId="1036"/>
          <ac:spMkLst>
            <pc:docMk/>
            <pc:sldMk cId="4069244474" sldId="2147375114"/>
            <ac:spMk id="44" creationId="{09CB6078-EA17-4AF2-BF77-88D1E2369C41}"/>
          </ac:spMkLst>
        </pc:spChg>
        <pc:spChg chg="mod">
          <ac:chgData name="Rajat Taneja" userId="4ec436a0-470b-456a-af42-a15c99f1cebd" providerId="ADAL" clId="{3EA19806-CD64-4375-9EA7-939EDDB50E03}" dt="2022-04-06T23:49:48.395" v="2133" actId="1036"/>
          <ac:spMkLst>
            <pc:docMk/>
            <pc:sldMk cId="4069244474" sldId="2147375114"/>
            <ac:spMk id="45" creationId="{9028ED61-AFF9-4B6E-8DDC-FEBD6BA4451E}"/>
          </ac:spMkLst>
        </pc:spChg>
        <pc:spChg chg="mod">
          <ac:chgData name="Rajat Taneja" userId="4ec436a0-470b-456a-af42-a15c99f1cebd" providerId="ADAL" clId="{3EA19806-CD64-4375-9EA7-939EDDB50E03}" dt="2022-04-06T23:49:48.395" v="2133" actId="1036"/>
          <ac:spMkLst>
            <pc:docMk/>
            <pc:sldMk cId="4069244474" sldId="2147375114"/>
            <ac:spMk id="46" creationId="{470F4778-C697-49C9-9167-EE3C2CAED3B9}"/>
          </ac:spMkLst>
        </pc:spChg>
        <pc:spChg chg="mod">
          <ac:chgData name="Rajat Taneja" userId="4ec436a0-470b-456a-af42-a15c99f1cebd" providerId="ADAL" clId="{3EA19806-CD64-4375-9EA7-939EDDB50E03}" dt="2022-04-06T23:49:48.395" v="2133" actId="1036"/>
          <ac:spMkLst>
            <pc:docMk/>
            <pc:sldMk cId="4069244474" sldId="2147375114"/>
            <ac:spMk id="47" creationId="{F85C76B3-A8F9-4277-98B3-F6B893667D36}"/>
          </ac:spMkLst>
        </pc:spChg>
        <pc:spChg chg="mod">
          <ac:chgData name="Rajat Taneja" userId="4ec436a0-470b-456a-af42-a15c99f1cebd" providerId="ADAL" clId="{3EA19806-CD64-4375-9EA7-939EDDB50E03}" dt="2022-04-06T23:49:48.395" v="2133" actId="1036"/>
          <ac:spMkLst>
            <pc:docMk/>
            <pc:sldMk cId="4069244474" sldId="2147375114"/>
            <ac:spMk id="48" creationId="{B41BEDD8-0221-489B-A7C6-B50081D2A0A9}"/>
          </ac:spMkLst>
        </pc:spChg>
        <pc:spChg chg="mod">
          <ac:chgData name="Rajat Taneja" userId="4ec436a0-470b-456a-af42-a15c99f1cebd" providerId="ADAL" clId="{3EA19806-CD64-4375-9EA7-939EDDB50E03}" dt="2022-04-06T23:49:48.395" v="2133" actId="1036"/>
          <ac:spMkLst>
            <pc:docMk/>
            <pc:sldMk cId="4069244474" sldId="2147375114"/>
            <ac:spMk id="49" creationId="{1EDD41D4-C45C-4DD6-8A39-EAD9BEB03DD9}"/>
          </ac:spMkLst>
        </pc:spChg>
        <pc:spChg chg="mod">
          <ac:chgData name="Rajat Taneja" userId="4ec436a0-470b-456a-af42-a15c99f1cebd" providerId="ADAL" clId="{3EA19806-CD64-4375-9EA7-939EDDB50E03}" dt="2022-04-06T23:49:48.395" v="2133" actId="1036"/>
          <ac:spMkLst>
            <pc:docMk/>
            <pc:sldMk cId="4069244474" sldId="2147375114"/>
            <ac:spMk id="50" creationId="{836124FC-1E4C-42AE-8482-CAED75CB108E}"/>
          </ac:spMkLst>
        </pc:spChg>
        <pc:spChg chg="mod">
          <ac:chgData name="Rajat Taneja" userId="4ec436a0-470b-456a-af42-a15c99f1cebd" providerId="ADAL" clId="{3EA19806-CD64-4375-9EA7-939EDDB50E03}" dt="2022-04-06T23:49:48.395" v="2133" actId="1036"/>
          <ac:spMkLst>
            <pc:docMk/>
            <pc:sldMk cId="4069244474" sldId="2147375114"/>
            <ac:spMk id="51" creationId="{DFB79F59-6679-43E1-A5A4-04C54A650965}"/>
          </ac:spMkLst>
        </pc:spChg>
        <pc:spChg chg="mod">
          <ac:chgData name="Rajat Taneja" userId="4ec436a0-470b-456a-af42-a15c99f1cebd" providerId="ADAL" clId="{3EA19806-CD64-4375-9EA7-939EDDB50E03}" dt="2022-04-06T23:49:48.395" v="2133" actId="1036"/>
          <ac:spMkLst>
            <pc:docMk/>
            <pc:sldMk cId="4069244474" sldId="2147375114"/>
            <ac:spMk id="52" creationId="{07CEE954-190A-461C-879F-126AEFA46010}"/>
          </ac:spMkLst>
        </pc:spChg>
        <pc:spChg chg="mod">
          <ac:chgData name="Rajat Taneja" userId="4ec436a0-470b-456a-af42-a15c99f1cebd" providerId="ADAL" clId="{3EA19806-CD64-4375-9EA7-939EDDB50E03}" dt="2022-04-06T23:49:48.395" v="2133" actId="1036"/>
          <ac:spMkLst>
            <pc:docMk/>
            <pc:sldMk cId="4069244474" sldId="2147375114"/>
            <ac:spMk id="53" creationId="{177003B4-A09E-409E-AAE1-3C4BF3F77996}"/>
          </ac:spMkLst>
        </pc:spChg>
        <pc:spChg chg="mod">
          <ac:chgData name="Rajat Taneja" userId="4ec436a0-470b-456a-af42-a15c99f1cebd" providerId="ADAL" clId="{3EA19806-CD64-4375-9EA7-939EDDB50E03}" dt="2022-04-06T23:49:48.395" v="2133" actId="1036"/>
          <ac:spMkLst>
            <pc:docMk/>
            <pc:sldMk cId="4069244474" sldId="2147375114"/>
            <ac:spMk id="54" creationId="{9F9C0A07-B5B5-4C00-8FDB-765469C96CDA}"/>
          </ac:spMkLst>
        </pc:spChg>
        <pc:spChg chg="mod">
          <ac:chgData name="Rajat Taneja" userId="4ec436a0-470b-456a-af42-a15c99f1cebd" providerId="ADAL" clId="{3EA19806-CD64-4375-9EA7-939EDDB50E03}" dt="2022-04-06T23:49:48.395" v="2133" actId="1036"/>
          <ac:spMkLst>
            <pc:docMk/>
            <pc:sldMk cId="4069244474" sldId="2147375114"/>
            <ac:spMk id="55" creationId="{90B4B2D9-EA95-44E5-A9F8-430E634FE5B7}"/>
          </ac:spMkLst>
        </pc:spChg>
        <pc:spChg chg="mod">
          <ac:chgData name="Rajat Taneja" userId="4ec436a0-470b-456a-af42-a15c99f1cebd" providerId="ADAL" clId="{3EA19806-CD64-4375-9EA7-939EDDB50E03}" dt="2022-04-06T23:49:48.395" v="2133" actId="1036"/>
          <ac:spMkLst>
            <pc:docMk/>
            <pc:sldMk cId="4069244474" sldId="2147375114"/>
            <ac:spMk id="56" creationId="{42A9EDE3-1AA7-4D20-96E2-E19EE0D5CAC9}"/>
          </ac:spMkLst>
        </pc:spChg>
        <pc:spChg chg="mod">
          <ac:chgData name="Rajat Taneja" userId="4ec436a0-470b-456a-af42-a15c99f1cebd" providerId="ADAL" clId="{3EA19806-CD64-4375-9EA7-939EDDB50E03}" dt="2022-04-06T23:49:48.395" v="2133" actId="1036"/>
          <ac:spMkLst>
            <pc:docMk/>
            <pc:sldMk cId="4069244474" sldId="2147375114"/>
            <ac:spMk id="57" creationId="{A28C3043-10EF-4D48-95C5-1BF3DD34088A}"/>
          </ac:spMkLst>
        </pc:spChg>
        <pc:spChg chg="mod">
          <ac:chgData name="Rajat Taneja" userId="4ec436a0-470b-456a-af42-a15c99f1cebd" providerId="ADAL" clId="{3EA19806-CD64-4375-9EA7-939EDDB50E03}" dt="2022-04-06T23:49:48.395" v="2133" actId="1036"/>
          <ac:spMkLst>
            <pc:docMk/>
            <pc:sldMk cId="4069244474" sldId="2147375114"/>
            <ac:spMk id="58" creationId="{362F5E0F-158B-4CFE-B95B-6CB18C75A89D}"/>
          </ac:spMkLst>
        </pc:spChg>
        <pc:spChg chg="mod">
          <ac:chgData name="Rajat Taneja" userId="4ec436a0-470b-456a-af42-a15c99f1cebd" providerId="ADAL" clId="{3EA19806-CD64-4375-9EA7-939EDDB50E03}" dt="2022-04-06T23:49:48.395" v="2133" actId="1036"/>
          <ac:spMkLst>
            <pc:docMk/>
            <pc:sldMk cId="4069244474" sldId="2147375114"/>
            <ac:spMk id="59" creationId="{00E68DDC-FFF8-4685-BABB-3882D5668126}"/>
          </ac:spMkLst>
        </pc:spChg>
        <pc:spChg chg="mod">
          <ac:chgData name="Rajat Taneja" userId="4ec436a0-470b-456a-af42-a15c99f1cebd" providerId="ADAL" clId="{3EA19806-CD64-4375-9EA7-939EDDB50E03}" dt="2022-04-06T23:49:48.395" v="2133" actId="1036"/>
          <ac:spMkLst>
            <pc:docMk/>
            <pc:sldMk cId="4069244474" sldId="2147375114"/>
            <ac:spMk id="60" creationId="{362362B3-3B37-431D-9D91-6A4F3971296A}"/>
          </ac:spMkLst>
        </pc:spChg>
        <pc:spChg chg="mod">
          <ac:chgData name="Rajat Taneja" userId="4ec436a0-470b-456a-af42-a15c99f1cebd" providerId="ADAL" clId="{3EA19806-CD64-4375-9EA7-939EDDB50E03}" dt="2022-04-06T23:49:48.395" v="2133" actId="1036"/>
          <ac:spMkLst>
            <pc:docMk/>
            <pc:sldMk cId="4069244474" sldId="2147375114"/>
            <ac:spMk id="61" creationId="{680B357C-F3F8-4013-B81C-98CA641DE367}"/>
          </ac:spMkLst>
        </pc:spChg>
        <pc:spChg chg="mod">
          <ac:chgData name="Rajat Taneja" userId="4ec436a0-470b-456a-af42-a15c99f1cebd" providerId="ADAL" clId="{3EA19806-CD64-4375-9EA7-939EDDB50E03}" dt="2022-04-06T23:49:48.395" v="2133" actId="1036"/>
          <ac:spMkLst>
            <pc:docMk/>
            <pc:sldMk cId="4069244474" sldId="2147375114"/>
            <ac:spMk id="62" creationId="{9CF55EF2-D65D-4E7F-937A-3715655681CE}"/>
          </ac:spMkLst>
        </pc:spChg>
        <pc:spChg chg="mod">
          <ac:chgData name="Rajat Taneja" userId="4ec436a0-470b-456a-af42-a15c99f1cebd" providerId="ADAL" clId="{3EA19806-CD64-4375-9EA7-939EDDB50E03}" dt="2022-04-06T23:49:48.395" v="2133" actId="1036"/>
          <ac:spMkLst>
            <pc:docMk/>
            <pc:sldMk cId="4069244474" sldId="2147375114"/>
            <ac:spMk id="63" creationId="{541AA651-199F-48F9-AB05-DB7D43398C95}"/>
          </ac:spMkLst>
        </pc:spChg>
        <pc:spChg chg="mod">
          <ac:chgData name="Rajat Taneja" userId="4ec436a0-470b-456a-af42-a15c99f1cebd" providerId="ADAL" clId="{3EA19806-CD64-4375-9EA7-939EDDB50E03}" dt="2022-04-06T23:49:48.395" v="2133" actId="1036"/>
          <ac:spMkLst>
            <pc:docMk/>
            <pc:sldMk cId="4069244474" sldId="2147375114"/>
            <ac:spMk id="64" creationId="{7517A3BF-03B3-4A71-A136-5BA670F76E6E}"/>
          </ac:spMkLst>
        </pc:spChg>
        <pc:spChg chg="mod">
          <ac:chgData name="Rajat Taneja" userId="4ec436a0-470b-456a-af42-a15c99f1cebd" providerId="ADAL" clId="{3EA19806-CD64-4375-9EA7-939EDDB50E03}" dt="2022-04-06T23:49:48.395" v="2133" actId="1036"/>
          <ac:spMkLst>
            <pc:docMk/>
            <pc:sldMk cId="4069244474" sldId="2147375114"/>
            <ac:spMk id="65" creationId="{AB335327-F7A3-4267-91DF-59CA9AE0C158}"/>
          </ac:spMkLst>
        </pc:spChg>
        <pc:spChg chg="mod">
          <ac:chgData name="Rajat Taneja" userId="4ec436a0-470b-456a-af42-a15c99f1cebd" providerId="ADAL" clId="{3EA19806-CD64-4375-9EA7-939EDDB50E03}" dt="2022-04-06T23:49:48.395" v="2133" actId="1036"/>
          <ac:spMkLst>
            <pc:docMk/>
            <pc:sldMk cId="4069244474" sldId="2147375114"/>
            <ac:spMk id="66" creationId="{0D00781B-7572-49CF-828C-0A1D0FED468C}"/>
          </ac:spMkLst>
        </pc:spChg>
        <pc:spChg chg="mod">
          <ac:chgData name="Rajat Taneja" userId="4ec436a0-470b-456a-af42-a15c99f1cebd" providerId="ADAL" clId="{3EA19806-CD64-4375-9EA7-939EDDB50E03}" dt="2022-04-06T23:49:48.395" v="2133" actId="1036"/>
          <ac:spMkLst>
            <pc:docMk/>
            <pc:sldMk cId="4069244474" sldId="2147375114"/>
            <ac:spMk id="67" creationId="{BE93CC2E-9B63-4096-8F1A-F88D5FF4481B}"/>
          </ac:spMkLst>
        </pc:spChg>
        <pc:spChg chg="mod">
          <ac:chgData name="Rajat Taneja" userId="4ec436a0-470b-456a-af42-a15c99f1cebd" providerId="ADAL" clId="{3EA19806-CD64-4375-9EA7-939EDDB50E03}" dt="2022-04-06T23:49:48.395" v="2133" actId="1036"/>
          <ac:spMkLst>
            <pc:docMk/>
            <pc:sldMk cId="4069244474" sldId="2147375114"/>
            <ac:spMk id="68" creationId="{F09A4355-1F03-4ECF-9451-E772E5C9A704}"/>
          </ac:spMkLst>
        </pc:spChg>
        <pc:spChg chg="mod">
          <ac:chgData name="Rajat Taneja" userId="4ec436a0-470b-456a-af42-a15c99f1cebd" providerId="ADAL" clId="{3EA19806-CD64-4375-9EA7-939EDDB50E03}" dt="2022-04-06T23:49:48.395" v="2133" actId="1036"/>
          <ac:spMkLst>
            <pc:docMk/>
            <pc:sldMk cId="4069244474" sldId="2147375114"/>
            <ac:spMk id="69" creationId="{6EEAD532-B783-4E8A-94C7-14C0E859F34D}"/>
          </ac:spMkLst>
        </pc:spChg>
        <pc:spChg chg="mod">
          <ac:chgData name="Rajat Taneja" userId="4ec436a0-470b-456a-af42-a15c99f1cebd" providerId="ADAL" clId="{3EA19806-CD64-4375-9EA7-939EDDB50E03}" dt="2022-04-06T23:49:48.395" v="2133" actId="1036"/>
          <ac:spMkLst>
            <pc:docMk/>
            <pc:sldMk cId="4069244474" sldId="2147375114"/>
            <ac:spMk id="70" creationId="{4D472057-7910-47CB-AD95-EB11FF934B72}"/>
          </ac:spMkLst>
        </pc:spChg>
        <pc:spChg chg="mod">
          <ac:chgData name="Rajat Taneja" userId="4ec436a0-470b-456a-af42-a15c99f1cebd" providerId="ADAL" clId="{3EA19806-CD64-4375-9EA7-939EDDB50E03}" dt="2022-04-06T23:49:48.395" v="2133" actId="1036"/>
          <ac:spMkLst>
            <pc:docMk/>
            <pc:sldMk cId="4069244474" sldId="2147375114"/>
            <ac:spMk id="71" creationId="{9F4BD42F-1D91-4C88-BAED-40660A5A4773}"/>
          </ac:spMkLst>
        </pc:spChg>
        <pc:spChg chg="mod">
          <ac:chgData name="Rajat Taneja" userId="4ec436a0-470b-456a-af42-a15c99f1cebd" providerId="ADAL" clId="{3EA19806-CD64-4375-9EA7-939EDDB50E03}" dt="2022-04-06T23:49:48.395" v="2133" actId="1036"/>
          <ac:spMkLst>
            <pc:docMk/>
            <pc:sldMk cId="4069244474" sldId="2147375114"/>
            <ac:spMk id="72" creationId="{9B284139-D9B3-4132-92B2-75248DB3FB8E}"/>
          </ac:spMkLst>
        </pc:spChg>
        <pc:spChg chg="mod">
          <ac:chgData name="Rajat Taneja" userId="4ec436a0-470b-456a-af42-a15c99f1cebd" providerId="ADAL" clId="{3EA19806-CD64-4375-9EA7-939EDDB50E03}" dt="2022-04-06T23:49:48.395" v="2133" actId="1036"/>
          <ac:spMkLst>
            <pc:docMk/>
            <pc:sldMk cId="4069244474" sldId="2147375114"/>
            <ac:spMk id="73" creationId="{7DA76C23-3A6D-443B-8256-4E4746FA5191}"/>
          </ac:spMkLst>
        </pc:spChg>
        <pc:spChg chg="mod">
          <ac:chgData name="Rajat Taneja" userId="4ec436a0-470b-456a-af42-a15c99f1cebd" providerId="ADAL" clId="{3EA19806-CD64-4375-9EA7-939EDDB50E03}" dt="2022-04-06T23:49:48.395" v="2133" actId="1036"/>
          <ac:spMkLst>
            <pc:docMk/>
            <pc:sldMk cId="4069244474" sldId="2147375114"/>
            <ac:spMk id="74" creationId="{D495A3C9-B56F-4464-90D5-E3B35A8BC8A6}"/>
          </ac:spMkLst>
        </pc:spChg>
        <pc:spChg chg="mod">
          <ac:chgData name="Rajat Taneja" userId="4ec436a0-470b-456a-af42-a15c99f1cebd" providerId="ADAL" clId="{3EA19806-CD64-4375-9EA7-939EDDB50E03}" dt="2022-04-06T23:49:48.395" v="2133" actId="1036"/>
          <ac:spMkLst>
            <pc:docMk/>
            <pc:sldMk cId="4069244474" sldId="2147375114"/>
            <ac:spMk id="75" creationId="{F0EAE3A4-7DCF-480F-881F-901A23765589}"/>
          </ac:spMkLst>
        </pc:spChg>
        <pc:spChg chg="mod">
          <ac:chgData name="Rajat Taneja" userId="4ec436a0-470b-456a-af42-a15c99f1cebd" providerId="ADAL" clId="{3EA19806-CD64-4375-9EA7-939EDDB50E03}" dt="2022-04-06T23:49:48.395" v="2133" actId="1036"/>
          <ac:spMkLst>
            <pc:docMk/>
            <pc:sldMk cId="4069244474" sldId="2147375114"/>
            <ac:spMk id="76" creationId="{84DC375F-49C1-4AD9-9AC4-5A388DA05F30}"/>
          </ac:spMkLst>
        </pc:spChg>
        <pc:spChg chg="mod">
          <ac:chgData name="Rajat Taneja" userId="4ec436a0-470b-456a-af42-a15c99f1cebd" providerId="ADAL" clId="{3EA19806-CD64-4375-9EA7-939EDDB50E03}" dt="2022-04-06T23:49:48.395" v="2133" actId="1036"/>
          <ac:spMkLst>
            <pc:docMk/>
            <pc:sldMk cId="4069244474" sldId="2147375114"/>
            <ac:spMk id="77" creationId="{192E05E6-8AB2-4415-9B66-E6236B01B509}"/>
          </ac:spMkLst>
        </pc:spChg>
        <pc:spChg chg="mod">
          <ac:chgData name="Rajat Taneja" userId="4ec436a0-470b-456a-af42-a15c99f1cebd" providerId="ADAL" clId="{3EA19806-CD64-4375-9EA7-939EDDB50E03}" dt="2022-04-06T23:49:48.395" v="2133" actId="1036"/>
          <ac:spMkLst>
            <pc:docMk/>
            <pc:sldMk cId="4069244474" sldId="2147375114"/>
            <ac:spMk id="78" creationId="{998BAB8F-539A-40BD-BB21-A285FB5BFDEE}"/>
          </ac:spMkLst>
        </pc:spChg>
        <pc:spChg chg="mod">
          <ac:chgData name="Rajat Taneja" userId="4ec436a0-470b-456a-af42-a15c99f1cebd" providerId="ADAL" clId="{3EA19806-CD64-4375-9EA7-939EDDB50E03}" dt="2022-04-06T23:49:48.395" v="2133" actId="1036"/>
          <ac:spMkLst>
            <pc:docMk/>
            <pc:sldMk cId="4069244474" sldId="2147375114"/>
            <ac:spMk id="79" creationId="{C84BB40E-B790-4863-B3A2-627E6CD82F5A}"/>
          </ac:spMkLst>
        </pc:spChg>
        <pc:spChg chg="mod">
          <ac:chgData name="Rajat Taneja" userId="4ec436a0-470b-456a-af42-a15c99f1cebd" providerId="ADAL" clId="{3EA19806-CD64-4375-9EA7-939EDDB50E03}" dt="2022-04-06T23:49:48.395" v="2133" actId="1036"/>
          <ac:spMkLst>
            <pc:docMk/>
            <pc:sldMk cId="4069244474" sldId="2147375114"/>
            <ac:spMk id="80" creationId="{D863BE43-6C30-4FC9-81F9-54BD02CFD3B3}"/>
          </ac:spMkLst>
        </pc:spChg>
        <pc:spChg chg="mod">
          <ac:chgData name="Rajat Taneja" userId="4ec436a0-470b-456a-af42-a15c99f1cebd" providerId="ADAL" clId="{3EA19806-CD64-4375-9EA7-939EDDB50E03}" dt="2022-04-06T23:49:48.395" v="2133" actId="1036"/>
          <ac:spMkLst>
            <pc:docMk/>
            <pc:sldMk cId="4069244474" sldId="2147375114"/>
            <ac:spMk id="81" creationId="{874E8D05-72AB-43A5-9AC0-17D1FF96DDC1}"/>
          </ac:spMkLst>
        </pc:spChg>
        <pc:spChg chg="mod">
          <ac:chgData name="Rajat Taneja" userId="4ec436a0-470b-456a-af42-a15c99f1cebd" providerId="ADAL" clId="{3EA19806-CD64-4375-9EA7-939EDDB50E03}" dt="2022-04-06T23:49:48.395" v="2133" actId="1036"/>
          <ac:spMkLst>
            <pc:docMk/>
            <pc:sldMk cId="4069244474" sldId="2147375114"/>
            <ac:spMk id="82" creationId="{87EEACED-1B33-42C6-A362-2C94909CC227}"/>
          </ac:spMkLst>
        </pc:spChg>
        <pc:spChg chg="mod">
          <ac:chgData name="Rajat Taneja" userId="4ec436a0-470b-456a-af42-a15c99f1cebd" providerId="ADAL" clId="{3EA19806-CD64-4375-9EA7-939EDDB50E03}" dt="2022-04-06T23:49:48.395" v="2133" actId="1036"/>
          <ac:spMkLst>
            <pc:docMk/>
            <pc:sldMk cId="4069244474" sldId="2147375114"/>
            <ac:spMk id="83" creationId="{D79C63F6-FCB1-43EC-A188-7EBDA4B8D728}"/>
          </ac:spMkLst>
        </pc:spChg>
        <pc:spChg chg="mod">
          <ac:chgData name="Rajat Taneja" userId="4ec436a0-470b-456a-af42-a15c99f1cebd" providerId="ADAL" clId="{3EA19806-CD64-4375-9EA7-939EDDB50E03}" dt="2022-04-06T23:49:48.395" v="2133" actId="1036"/>
          <ac:spMkLst>
            <pc:docMk/>
            <pc:sldMk cId="4069244474" sldId="2147375114"/>
            <ac:spMk id="84" creationId="{A53FD037-14A7-4F16-B312-798B54037D26}"/>
          </ac:spMkLst>
        </pc:spChg>
        <pc:spChg chg="mod">
          <ac:chgData name="Rajat Taneja" userId="4ec436a0-470b-456a-af42-a15c99f1cebd" providerId="ADAL" clId="{3EA19806-CD64-4375-9EA7-939EDDB50E03}" dt="2022-04-06T23:49:48.395" v="2133" actId="1036"/>
          <ac:spMkLst>
            <pc:docMk/>
            <pc:sldMk cId="4069244474" sldId="2147375114"/>
            <ac:spMk id="85" creationId="{079D4515-52AC-4CA7-A6B2-60CE41014007}"/>
          </ac:spMkLst>
        </pc:spChg>
        <pc:spChg chg="mod">
          <ac:chgData name="Rajat Taneja" userId="4ec436a0-470b-456a-af42-a15c99f1cebd" providerId="ADAL" clId="{3EA19806-CD64-4375-9EA7-939EDDB50E03}" dt="2022-04-06T23:49:48.395" v="2133" actId="1036"/>
          <ac:spMkLst>
            <pc:docMk/>
            <pc:sldMk cId="4069244474" sldId="2147375114"/>
            <ac:spMk id="86" creationId="{E144BCC1-E9EB-4336-8052-6D2CEC768650}"/>
          </ac:spMkLst>
        </pc:spChg>
        <pc:spChg chg="mod">
          <ac:chgData name="Rajat Taneja" userId="4ec436a0-470b-456a-af42-a15c99f1cebd" providerId="ADAL" clId="{3EA19806-CD64-4375-9EA7-939EDDB50E03}" dt="2022-04-06T23:49:48.395" v="2133" actId="1036"/>
          <ac:spMkLst>
            <pc:docMk/>
            <pc:sldMk cId="4069244474" sldId="2147375114"/>
            <ac:spMk id="87" creationId="{30677FB2-31BE-4BBE-AF38-69A605FE3EF9}"/>
          </ac:spMkLst>
        </pc:spChg>
        <pc:spChg chg="mod">
          <ac:chgData name="Rajat Taneja" userId="4ec436a0-470b-456a-af42-a15c99f1cebd" providerId="ADAL" clId="{3EA19806-CD64-4375-9EA7-939EDDB50E03}" dt="2022-04-06T23:49:48.395" v="2133" actId="1036"/>
          <ac:spMkLst>
            <pc:docMk/>
            <pc:sldMk cId="4069244474" sldId="2147375114"/>
            <ac:spMk id="88" creationId="{9DD12D10-719B-4B54-AF86-DCBF9CFB1CA7}"/>
          </ac:spMkLst>
        </pc:spChg>
        <pc:spChg chg="mod">
          <ac:chgData name="Rajat Taneja" userId="4ec436a0-470b-456a-af42-a15c99f1cebd" providerId="ADAL" clId="{3EA19806-CD64-4375-9EA7-939EDDB50E03}" dt="2022-04-06T23:49:48.395" v="2133" actId="1036"/>
          <ac:spMkLst>
            <pc:docMk/>
            <pc:sldMk cId="4069244474" sldId="2147375114"/>
            <ac:spMk id="89" creationId="{170E4485-E449-4386-A8F8-B523353812C0}"/>
          </ac:spMkLst>
        </pc:spChg>
        <pc:spChg chg="mod">
          <ac:chgData name="Rajat Taneja" userId="4ec436a0-470b-456a-af42-a15c99f1cebd" providerId="ADAL" clId="{3EA19806-CD64-4375-9EA7-939EDDB50E03}" dt="2022-04-06T23:49:48.395" v="2133" actId="1036"/>
          <ac:spMkLst>
            <pc:docMk/>
            <pc:sldMk cId="4069244474" sldId="2147375114"/>
            <ac:spMk id="90" creationId="{19FAB631-07B0-4A25-8FC1-51D42C93BEDE}"/>
          </ac:spMkLst>
        </pc:spChg>
        <pc:spChg chg="mod">
          <ac:chgData name="Rajat Taneja" userId="4ec436a0-470b-456a-af42-a15c99f1cebd" providerId="ADAL" clId="{3EA19806-CD64-4375-9EA7-939EDDB50E03}" dt="2022-04-06T23:49:48.395" v="2133" actId="1036"/>
          <ac:spMkLst>
            <pc:docMk/>
            <pc:sldMk cId="4069244474" sldId="2147375114"/>
            <ac:spMk id="91" creationId="{CA33CDB7-8C1E-4C9E-B450-FEEDB2220380}"/>
          </ac:spMkLst>
        </pc:spChg>
        <pc:spChg chg="mod">
          <ac:chgData name="Rajat Taneja" userId="4ec436a0-470b-456a-af42-a15c99f1cebd" providerId="ADAL" clId="{3EA19806-CD64-4375-9EA7-939EDDB50E03}" dt="2022-04-06T23:49:48.395" v="2133" actId="1036"/>
          <ac:spMkLst>
            <pc:docMk/>
            <pc:sldMk cId="4069244474" sldId="2147375114"/>
            <ac:spMk id="92" creationId="{74FD1F3D-30D4-413D-AB43-F62ED4E7AFE8}"/>
          </ac:spMkLst>
        </pc:spChg>
        <pc:spChg chg="mod">
          <ac:chgData name="Rajat Taneja" userId="4ec436a0-470b-456a-af42-a15c99f1cebd" providerId="ADAL" clId="{3EA19806-CD64-4375-9EA7-939EDDB50E03}" dt="2022-04-06T23:49:48.395" v="2133" actId="1036"/>
          <ac:spMkLst>
            <pc:docMk/>
            <pc:sldMk cId="4069244474" sldId="2147375114"/>
            <ac:spMk id="93" creationId="{11E845AF-DF7E-4CCB-B0CA-8388D95C5E83}"/>
          </ac:spMkLst>
        </pc:spChg>
        <pc:spChg chg="mod">
          <ac:chgData name="Rajat Taneja" userId="4ec436a0-470b-456a-af42-a15c99f1cebd" providerId="ADAL" clId="{3EA19806-CD64-4375-9EA7-939EDDB50E03}" dt="2022-04-06T23:49:48.395" v="2133" actId="1036"/>
          <ac:spMkLst>
            <pc:docMk/>
            <pc:sldMk cId="4069244474" sldId="2147375114"/>
            <ac:spMk id="94" creationId="{00C9B02C-51C4-4706-8961-F9597851BD02}"/>
          </ac:spMkLst>
        </pc:spChg>
        <pc:spChg chg="mod">
          <ac:chgData name="Rajat Taneja" userId="4ec436a0-470b-456a-af42-a15c99f1cebd" providerId="ADAL" clId="{3EA19806-CD64-4375-9EA7-939EDDB50E03}" dt="2022-04-06T23:49:48.395" v="2133" actId="1036"/>
          <ac:spMkLst>
            <pc:docMk/>
            <pc:sldMk cId="4069244474" sldId="2147375114"/>
            <ac:spMk id="95" creationId="{EFD65B17-D226-4201-BD55-17EAED248021}"/>
          </ac:spMkLst>
        </pc:spChg>
        <pc:spChg chg="mod">
          <ac:chgData name="Rajat Taneja" userId="4ec436a0-470b-456a-af42-a15c99f1cebd" providerId="ADAL" clId="{3EA19806-CD64-4375-9EA7-939EDDB50E03}" dt="2022-04-06T23:49:48.395" v="2133" actId="1036"/>
          <ac:spMkLst>
            <pc:docMk/>
            <pc:sldMk cId="4069244474" sldId="2147375114"/>
            <ac:spMk id="96" creationId="{0916CAF3-F7F8-43AD-BC0D-52D084E70C1E}"/>
          </ac:spMkLst>
        </pc:spChg>
        <pc:spChg chg="mod">
          <ac:chgData name="Rajat Taneja" userId="4ec436a0-470b-456a-af42-a15c99f1cebd" providerId="ADAL" clId="{3EA19806-CD64-4375-9EA7-939EDDB50E03}" dt="2022-04-06T23:49:48.395" v="2133" actId="1036"/>
          <ac:spMkLst>
            <pc:docMk/>
            <pc:sldMk cId="4069244474" sldId="2147375114"/>
            <ac:spMk id="97" creationId="{B2EC37CD-6E36-45F3-B59B-9A55EF8A1A9C}"/>
          </ac:spMkLst>
        </pc:spChg>
        <pc:spChg chg="mod">
          <ac:chgData name="Rajat Taneja" userId="4ec436a0-470b-456a-af42-a15c99f1cebd" providerId="ADAL" clId="{3EA19806-CD64-4375-9EA7-939EDDB50E03}" dt="2022-04-06T23:49:48.395" v="2133" actId="1036"/>
          <ac:spMkLst>
            <pc:docMk/>
            <pc:sldMk cId="4069244474" sldId="2147375114"/>
            <ac:spMk id="98" creationId="{A7E664DE-43A8-4A68-98C9-A2A97D770760}"/>
          </ac:spMkLst>
        </pc:spChg>
        <pc:spChg chg="mod">
          <ac:chgData name="Rajat Taneja" userId="4ec436a0-470b-456a-af42-a15c99f1cebd" providerId="ADAL" clId="{3EA19806-CD64-4375-9EA7-939EDDB50E03}" dt="2022-04-06T23:49:48.395" v="2133" actId="1036"/>
          <ac:spMkLst>
            <pc:docMk/>
            <pc:sldMk cId="4069244474" sldId="2147375114"/>
            <ac:spMk id="99" creationId="{FAACF79B-6225-4F36-A9FB-070631A5BC9F}"/>
          </ac:spMkLst>
        </pc:spChg>
        <pc:spChg chg="mod">
          <ac:chgData name="Rajat Taneja" userId="4ec436a0-470b-456a-af42-a15c99f1cebd" providerId="ADAL" clId="{3EA19806-CD64-4375-9EA7-939EDDB50E03}" dt="2022-04-06T23:49:48.395" v="2133" actId="1036"/>
          <ac:spMkLst>
            <pc:docMk/>
            <pc:sldMk cId="4069244474" sldId="2147375114"/>
            <ac:spMk id="100" creationId="{33D7810B-5930-4520-9B4A-A22C0921DE30}"/>
          </ac:spMkLst>
        </pc:spChg>
        <pc:spChg chg="mod">
          <ac:chgData name="Rajat Taneja" userId="4ec436a0-470b-456a-af42-a15c99f1cebd" providerId="ADAL" clId="{3EA19806-CD64-4375-9EA7-939EDDB50E03}" dt="2022-04-06T23:49:48.395" v="2133" actId="1036"/>
          <ac:spMkLst>
            <pc:docMk/>
            <pc:sldMk cId="4069244474" sldId="2147375114"/>
            <ac:spMk id="101" creationId="{A59C13C5-EAD4-48AC-B0EE-0CB031001E4E}"/>
          </ac:spMkLst>
        </pc:spChg>
        <pc:spChg chg="mod">
          <ac:chgData name="Rajat Taneja" userId="4ec436a0-470b-456a-af42-a15c99f1cebd" providerId="ADAL" clId="{3EA19806-CD64-4375-9EA7-939EDDB50E03}" dt="2022-04-06T23:49:48.395" v="2133" actId="1036"/>
          <ac:spMkLst>
            <pc:docMk/>
            <pc:sldMk cId="4069244474" sldId="2147375114"/>
            <ac:spMk id="102" creationId="{896A2454-B1CE-4187-918C-E5576D953DCC}"/>
          </ac:spMkLst>
        </pc:spChg>
        <pc:spChg chg="mod">
          <ac:chgData name="Rajat Taneja" userId="4ec436a0-470b-456a-af42-a15c99f1cebd" providerId="ADAL" clId="{3EA19806-CD64-4375-9EA7-939EDDB50E03}" dt="2022-04-06T23:49:48.395" v="2133" actId="1036"/>
          <ac:spMkLst>
            <pc:docMk/>
            <pc:sldMk cId="4069244474" sldId="2147375114"/>
            <ac:spMk id="103" creationId="{44398345-AD3B-4E81-BC76-2385AE7E1AD3}"/>
          </ac:spMkLst>
        </pc:spChg>
        <pc:spChg chg="mod">
          <ac:chgData name="Rajat Taneja" userId="4ec436a0-470b-456a-af42-a15c99f1cebd" providerId="ADAL" clId="{3EA19806-CD64-4375-9EA7-939EDDB50E03}" dt="2022-04-06T23:49:48.395" v="2133" actId="1036"/>
          <ac:spMkLst>
            <pc:docMk/>
            <pc:sldMk cId="4069244474" sldId="2147375114"/>
            <ac:spMk id="104" creationId="{635ECB20-FD0B-4F77-A92F-6DA07F8416D7}"/>
          </ac:spMkLst>
        </pc:spChg>
        <pc:spChg chg="mod">
          <ac:chgData name="Rajat Taneja" userId="4ec436a0-470b-456a-af42-a15c99f1cebd" providerId="ADAL" clId="{3EA19806-CD64-4375-9EA7-939EDDB50E03}" dt="2022-04-06T23:49:48.395" v="2133" actId="1036"/>
          <ac:spMkLst>
            <pc:docMk/>
            <pc:sldMk cId="4069244474" sldId="2147375114"/>
            <ac:spMk id="105" creationId="{602F6D49-8402-4471-ACA9-2799C90A878B}"/>
          </ac:spMkLst>
        </pc:spChg>
        <pc:spChg chg="mod">
          <ac:chgData name="Rajat Taneja" userId="4ec436a0-470b-456a-af42-a15c99f1cebd" providerId="ADAL" clId="{3EA19806-CD64-4375-9EA7-939EDDB50E03}" dt="2022-04-06T23:49:48.395" v="2133" actId="1036"/>
          <ac:spMkLst>
            <pc:docMk/>
            <pc:sldMk cId="4069244474" sldId="2147375114"/>
            <ac:spMk id="106" creationId="{2C0BCD07-90FD-4FEA-9141-A4CC26B801B1}"/>
          </ac:spMkLst>
        </pc:spChg>
        <pc:spChg chg="mod">
          <ac:chgData name="Rajat Taneja" userId="4ec436a0-470b-456a-af42-a15c99f1cebd" providerId="ADAL" clId="{3EA19806-CD64-4375-9EA7-939EDDB50E03}" dt="2022-04-06T23:49:48.395" v="2133" actId="1036"/>
          <ac:spMkLst>
            <pc:docMk/>
            <pc:sldMk cId="4069244474" sldId="2147375114"/>
            <ac:spMk id="107" creationId="{5D07C153-8E6E-4BD5-8174-401872A60742}"/>
          </ac:spMkLst>
        </pc:spChg>
        <pc:spChg chg="mod">
          <ac:chgData name="Rajat Taneja" userId="4ec436a0-470b-456a-af42-a15c99f1cebd" providerId="ADAL" clId="{3EA19806-CD64-4375-9EA7-939EDDB50E03}" dt="2022-04-06T23:49:48.395" v="2133" actId="1036"/>
          <ac:spMkLst>
            <pc:docMk/>
            <pc:sldMk cId="4069244474" sldId="2147375114"/>
            <ac:spMk id="108" creationId="{576E485F-A72D-4CDA-BE9B-AF230C816145}"/>
          </ac:spMkLst>
        </pc:spChg>
        <pc:spChg chg="mod">
          <ac:chgData name="Rajat Taneja" userId="4ec436a0-470b-456a-af42-a15c99f1cebd" providerId="ADAL" clId="{3EA19806-CD64-4375-9EA7-939EDDB50E03}" dt="2022-04-06T23:49:48.395" v="2133" actId="1036"/>
          <ac:spMkLst>
            <pc:docMk/>
            <pc:sldMk cId="4069244474" sldId="2147375114"/>
            <ac:spMk id="109" creationId="{E3C13F07-3C07-4509-8676-500389D84A38}"/>
          </ac:spMkLst>
        </pc:spChg>
        <pc:spChg chg="mod">
          <ac:chgData name="Rajat Taneja" userId="4ec436a0-470b-456a-af42-a15c99f1cebd" providerId="ADAL" clId="{3EA19806-CD64-4375-9EA7-939EDDB50E03}" dt="2022-04-06T23:49:48.395" v="2133" actId="1036"/>
          <ac:spMkLst>
            <pc:docMk/>
            <pc:sldMk cId="4069244474" sldId="2147375114"/>
            <ac:spMk id="110" creationId="{2C969F74-C7AC-47E3-B01E-5C27AB1A2A92}"/>
          </ac:spMkLst>
        </pc:spChg>
        <pc:spChg chg="mod">
          <ac:chgData name="Rajat Taneja" userId="4ec436a0-470b-456a-af42-a15c99f1cebd" providerId="ADAL" clId="{3EA19806-CD64-4375-9EA7-939EDDB50E03}" dt="2022-04-06T23:49:48.395" v="2133" actId="1036"/>
          <ac:spMkLst>
            <pc:docMk/>
            <pc:sldMk cId="4069244474" sldId="2147375114"/>
            <ac:spMk id="111" creationId="{FB80D75F-1433-493B-AE07-5006831B7974}"/>
          </ac:spMkLst>
        </pc:spChg>
        <pc:spChg chg="mod">
          <ac:chgData name="Rajat Taneja" userId="4ec436a0-470b-456a-af42-a15c99f1cebd" providerId="ADAL" clId="{3EA19806-CD64-4375-9EA7-939EDDB50E03}" dt="2022-04-06T23:49:48.395" v="2133" actId="1036"/>
          <ac:spMkLst>
            <pc:docMk/>
            <pc:sldMk cId="4069244474" sldId="2147375114"/>
            <ac:spMk id="112" creationId="{2E6EC032-B948-4625-A781-97148175FC82}"/>
          </ac:spMkLst>
        </pc:spChg>
        <pc:spChg chg="mod">
          <ac:chgData name="Rajat Taneja" userId="4ec436a0-470b-456a-af42-a15c99f1cebd" providerId="ADAL" clId="{3EA19806-CD64-4375-9EA7-939EDDB50E03}" dt="2022-04-06T23:49:48.395" v="2133" actId="1036"/>
          <ac:spMkLst>
            <pc:docMk/>
            <pc:sldMk cId="4069244474" sldId="2147375114"/>
            <ac:spMk id="113" creationId="{8E944544-6A67-4BBB-8A99-344E6F55D572}"/>
          </ac:spMkLst>
        </pc:spChg>
        <pc:spChg chg="mod">
          <ac:chgData name="Rajat Taneja" userId="4ec436a0-470b-456a-af42-a15c99f1cebd" providerId="ADAL" clId="{3EA19806-CD64-4375-9EA7-939EDDB50E03}" dt="2022-04-06T23:49:48.395" v="2133" actId="1036"/>
          <ac:spMkLst>
            <pc:docMk/>
            <pc:sldMk cId="4069244474" sldId="2147375114"/>
            <ac:spMk id="114" creationId="{00E44D30-FC8C-4FAF-880B-6D8A978FD513}"/>
          </ac:spMkLst>
        </pc:spChg>
        <pc:spChg chg="mod">
          <ac:chgData name="Rajat Taneja" userId="4ec436a0-470b-456a-af42-a15c99f1cebd" providerId="ADAL" clId="{3EA19806-CD64-4375-9EA7-939EDDB50E03}" dt="2022-04-06T23:49:48.395" v="2133" actId="1036"/>
          <ac:spMkLst>
            <pc:docMk/>
            <pc:sldMk cId="4069244474" sldId="2147375114"/>
            <ac:spMk id="115" creationId="{1B28F81D-5C39-448B-905E-511CE3DBDD49}"/>
          </ac:spMkLst>
        </pc:spChg>
        <pc:spChg chg="mod">
          <ac:chgData name="Rajat Taneja" userId="4ec436a0-470b-456a-af42-a15c99f1cebd" providerId="ADAL" clId="{3EA19806-CD64-4375-9EA7-939EDDB50E03}" dt="2022-04-06T23:49:48.395" v="2133" actId="1036"/>
          <ac:spMkLst>
            <pc:docMk/>
            <pc:sldMk cId="4069244474" sldId="2147375114"/>
            <ac:spMk id="116" creationId="{B191BED9-CFAE-4A7E-8C77-A4F491B98A1C}"/>
          </ac:spMkLst>
        </pc:spChg>
        <pc:spChg chg="mod">
          <ac:chgData name="Rajat Taneja" userId="4ec436a0-470b-456a-af42-a15c99f1cebd" providerId="ADAL" clId="{3EA19806-CD64-4375-9EA7-939EDDB50E03}" dt="2022-04-06T23:49:48.395" v="2133" actId="1036"/>
          <ac:spMkLst>
            <pc:docMk/>
            <pc:sldMk cId="4069244474" sldId="2147375114"/>
            <ac:spMk id="117" creationId="{814EEF20-E2FB-431B-B840-91C43AE09167}"/>
          </ac:spMkLst>
        </pc:spChg>
        <pc:spChg chg="mod">
          <ac:chgData name="Rajat Taneja" userId="4ec436a0-470b-456a-af42-a15c99f1cebd" providerId="ADAL" clId="{3EA19806-CD64-4375-9EA7-939EDDB50E03}" dt="2022-04-06T23:49:48.395" v="2133" actId="1036"/>
          <ac:spMkLst>
            <pc:docMk/>
            <pc:sldMk cId="4069244474" sldId="2147375114"/>
            <ac:spMk id="118" creationId="{3E8DEF29-1D30-41AA-B749-D3360CE9B243}"/>
          </ac:spMkLst>
        </pc:spChg>
        <pc:spChg chg="mod">
          <ac:chgData name="Rajat Taneja" userId="4ec436a0-470b-456a-af42-a15c99f1cebd" providerId="ADAL" clId="{3EA19806-CD64-4375-9EA7-939EDDB50E03}" dt="2022-04-06T23:49:48.395" v="2133" actId="1036"/>
          <ac:spMkLst>
            <pc:docMk/>
            <pc:sldMk cId="4069244474" sldId="2147375114"/>
            <ac:spMk id="119" creationId="{42C50348-65AD-49F4-BD6A-ED8055DE3BA0}"/>
          </ac:spMkLst>
        </pc:spChg>
        <pc:spChg chg="mod">
          <ac:chgData name="Rajat Taneja" userId="4ec436a0-470b-456a-af42-a15c99f1cebd" providerId="ADAL" clId="{3EA19806-CD64-4375-9EA7-939EDDB50E03}" dt="2022-04-06T23:49:48.395" v="2133" actId="1036"/>
          <ac:spMkLst>
            <pc:docMk/>
            <pc:sldMk cId="4069244474" sldId="2147375114"/>
            <ac:spMk id="120" creationId="{BB6367DC-28B3-4F29-9A08-C88173C8D226}"/>
          </ac:spMkLst>
        </pc:spChg>
        <pc:spChg chg="mod">
          <ac:chgData name="Rajat Taneja" userId="4ec436a0-470b-456a-af42-a15c99f1cebd" providerId="ADAL" clId="{3EA19806-CD64-4375-9EA7-939EDDB50E03}" dt="2022-04-06T23:49:48.395" v="2133" actId="1036"/>
          <ac:spMkLst>
            <pc:docMk/>
            <pc:sldMk cId="4069244474" sldId="2147375114"/>
            <ac:spMk id="121" creationId="{A54D9248-3F35-481C-AA3E-718B4D6C8342}"/>
          </ac:spMkLst>
        </pc:spChg>
        <pc:spChg chg="mod">
          <ac:chgData name="Rajat Taneja" userId="4ec436a0-470b-456a-af42-a15c99f1cebd" providerId="ADAL" clId="{3EA19806-CD64-4375-9EA7-939EDDB50E03}" dt="2022-04-06T23:49:48.395" v="2133" actId="1036"/>
          <ac:spMkLst>
            <pc:docMk/>
            <pc:sldMk cId="4069244474" sldId="2147375114"/>
            <ac:spMk id="122" creationId="{111843E9-72CB-4172-A8D8-DA6333CCCB96}"/>
          </ac:spMkLst>
        </pc:spChg>
        <pc:spChg chg="mod">
          <ac:chgData name="Rajat Taneja" userId="4ec436a0-470b-456a-af42-a15c99f1cebd" providerId="ADAL" clId="{3EA19806-CD64-4375-9EA7-939EDDB50E03}" dt="2022-04-06T23:49:48.395" v="2133" actId="1036"/>
          <ac:spMkLst>
            <pc:docMk/>
            <pc:sldMk cId="4069244474" sldId="2147375114"/>
            <ac:spMk id="123" creationId="{D74FEFA6-21AB-45D6-BBF0-662B68C65DAA}"/>
          </ac:spMkLst>
        </pc:spChg>
        <pc:spChg chg="mod">
          <ac:chgData name="Rajat Taneja" userId="4ec436a0-470b-456a-af42-a15c99f1cebd" providerId="ADAL" clId="{3EA19806-CD64-4375-9EA7-939EDDB50E03}" dt="2022-04-06T23:49:48.395" v="2133" actId="1036"/>
          <ac:spMkLst>
            <pc:docMk/>
            <pc:sldMk cId="4069244474" sldId="2147375114"/>
            <ac:spMk id="124" creationId="{EF1655FB-E293-4CDB-B87A-5B893488232C}"/>
          </ac:spMkLst>
        </pc:spChg>
        <pc:spChg chg="mod">
          <ac:chgData name="Rajat Taneja" userId="4ec436a0-470b-456a-af42-a15c99f1cebd" providerId="ADAL" clId="{3EA19806-CD64-4375-9EA7-939EDDB50E03}" dt="2022-04-06T23:49:48.395" v="2133" actId="1036"/>
          <ac:spMkLst>
            <pc:docMk/>
            <pc:sldMk cId="4069244474" sldId="2147375114"/>
            <ac:spMk id="125" creationId="{ACE9DDF9-7CB4-4BA9-A85A-325A104F4031}"/>
          </ac:spMkLst>
        </pc:spChg>
        <pc:spChg chg="mod">
          <ac:chgData name="Rajat Taneja" userId="4ec436a0-470b-456a-af42-a15c99f1cebd" providerId="ADAL" clId="{3EA19806-CD64-4375-9EA7-939EDDB50E03}" dt="2022-04-06T23:49:48.395" v="2133" actId="1036"/>
          <ac:spMkLst>
            <pc:docMk/>
            <pc:sldMk cId="4069244474" sldId="2147375114"/>
            <ac:spMk id="126" creationId="{5A748DEC-51EC-4A2B-B385-DD410404354A}"/>
          </ac:spMkLst>
        </pc:spChg>
        <pc:spChg chg="mod">
          <ac:chgData name="Rajat Taneja" userId="4ec436a0-470b-456a-af42-a15c99f1cebd" providerId="ADAL" clId="{3EA19806-CD64-4375-9EA7-939EDDB50E03}" dt="2022-04-06T23:49:48.395" v="2133" actId="1036"/>
          <ac:spMkLst>
            <pc:docMk/>
            <pc:sldMk cId="4069244474" sldId="2147375114"/>
            <ac:spMk id="127" creationId="{F71A4082-6B08-4A1C-82C2-14782AB04167}"/>
          </ac:spMkLst>
        </pc:spChg>
        <pc:spChg chg="mod">
          <ac:chgData name="Rajat Taneja" userId="4ec436a0-470b-456a-af42-a15c99f1cebd" providerId="ADAL" clId="{3EA19806-CD64-4375-9EA7-939EDDB50E03}" dt="2022-04-06T23:49:48.395" v="2133" actId="1036"/>
          <ac:spMkLst>
            <pc:docMk/>
            <pc:sldMk cId="4069244474" sldId="2147375114"/>
            <ac:spMk id="128" creationId="{861F872C-8D5B-4C1F-A48A-90D5EDEAD621}"/>
          </ac:spMkLst>
        </pc:spChg>
        <pc:spChg chg="mod">
          <ac:chgData name="Rajat Taneja" userId="4ec436a0-470b-456a-af42-a15c99f1cebd" providerId="ADAL" clId="{3EA19806-CD64-4375-9EA7-939EDDB50E03}" dt="2022-04-06T23:49:48.395" v="2133" actId="1036"/>
          <ac:spMkLst>
            <pc:docMk/>
            <pc:sldMk cId="4069244474" sldId="2147375114"/>
            <ac:spMk id="129" creationId="{860B2435-A3A6-4F0A-B1C9-469EEA53B7B6}"/>
          </ac:spMkLst>
        </pc:spChg>
        <pc:spChg chg="mod">
          <ac:chgData name="Rajat Taneja" userId="4ec436a0-470b-456a-af42-a15c99f1cebd" providerId="ADAL" clId="{3EA19806-CD64-4375-9EA7-939EDDB50E03}" dt="2022-04-06T23:49:48.395" v="2133" actId="1036"/>
          <ac:spMkLst>
            <pc:docMk/>
            <pc:sldMk cId="4069244474" sldId="2147375114"/>
            <ac:spMk id="130" creationId="{14897EE3-8485-4286-BB0E-FFA8EE625349}"/>
          </ac:spMkLst>
        </pc:spChg>
        <pc:spChg chg="mod">
          <ac:chgData name="Rajat Taneja" userId="4ec436a0-470b-456a-af42-a15c99f1cebd" providerId="ADAL" clId="{3EA19806-CD64-4375-9EA7-939EDDB50E03}" dt="2022-04-06T23:49:48.395" v="2133" actId="1036"/>
          <ac:spMkLst>
            <pc:docMk/>
            <pc:sldMk cId="4069244474" sldId="2147375114"/>
            <ac:spMk id="131" creationId="{77970B33-F28C-4AEB-934B-A8F46946F154}"/>
          </ac:spMkLst>
        </pc:spChg>
        <pc:spChg chg="mod">
          <ac:chgData name="Rajat Taneja" userId="4ec436a0-470b-456a-af42-a15c99f1cebd" providerId="ADAL" clId="{3EA19806-CD64-4375-9EA7-939EDDB50E03}" dt="2022-04-06T23:49:48.395" v="2133" actId="1036"/>
          <ac:spMkLst>
            <pc:docMk/>
            <pc:sldMk cId="4069244474" sldId="2147375114"/>
            <ac:spMk id="132" creationId="{E32F23BA-E808-400F-88AF-BCD39944F3B5}"/>
          </ac:spMkLst>
        </pc:spChg>
        <pc:spChg chg="mod">
          <ac:chgData name="Rajat Taneja" userId="4ec436a0-470b-456a-af42-a15c99f1cebd" providerId="ADAL" clId="{3EA19806-CD64-4375-9EA7-939EDDB50E03}" dt="2022-04-06T23:49:48.395" v="2133" actId="1036"/>
          <ac:spMkLst>
            <pc:docMk/>
            <pc:sldMk cId="4069244474" sldId="2147375114"/>
            <ac:spMk id="133" creationId="{09172FF5-8194-49C2-B0EF-30EE3DC7604F}"/>
          </ac:spMkLst>
        </pc:spChg>
        <pc:spChg chg="mod">
          <ac:chgData name="Rajat Taneja" userId="4ec436a0-470b-456a-af42-a15c99f1cebd" providerId="ADAL" clId="{3EA19806-CD64-4375-9EA7-939EDDB50E03}" dt="2022-04-06T23:49:48.395" v="2133" actId="1036"/>
          <ac:spMkLst>
            <pc:docMk/>
            <pc:sldMk cId="4069244474" sldId="2147375114"/>
            <ac:spMk id="134" creationId="{BF1473A3-E925-4541-A465-36BAFAA5B56A}"/>
          </ac:spMkLst>
        </pc:spChg>
        <pc:spChg chg="mod">
          <ac:chgData name="Rajat Taneja" userId="4ec436a0-470b-456a-af42-a15c99f1cebd" providerId="ADAL" clId="{3EA19806-CD64-4375-9EA7-939EDDB50E03}" dt="2022-04-06T23:49:48.395" v="2133" actId="1036"/>
          <ac:spMkLst>
            <pc:docMk/>
            <pc:sldMk cId="4069244474" sldId="2147375114"/>
            <ac:spMk id="135" creationId="{5953972A-E7DD-4748-BC35-0BD81018F438}"/>
          </ac:spMkLst>
        </pc:spChg>
        <pc:spChg chg="mod">
          <ac:chgData name="Rajat Taneja" userId="4ec436a0-470b-456a-af42-a15c99f1cebd" providerId="ADAL" clId="{3EA19806-CD64-4375-9EA7-939EDDB50E03}" dt="2022-04-06T23:49:48.395" v="2133" actId="1036"/>
          <ac:spMkLst>
            <pc:docMk/>
            <pc:sldMk cId="4069244474" sldId="2147375114"/>
            <ac:spMk id="136" creationId="{0FA8CDAD-2927-4A48-A1D7-208EB948F576}"/>
          </ac:spMkLst>
        </pc:spChg>
        <pc:spChg chg="mod">
          <ac:chgData name="Rajat Taneja" userId="4ec436a0-470b-456a-af42-a15c99f1cebd" providerId="ADAL" clId="{3EA19806-CD64-4375-9EA7-939EDDB50E03}" dt="2022-04-06T23:49:48.395" v="2133" actId="1036"/>
          <ac:spMkLst>
            <pc:docMk/>
            <pc:sldMk cId="4069244474" sldId="2147375114"/>
            <ac:spMk id="137" creationId="{BAFE19DD-A03E-4053-9B95-B4ABCE09198E}"/>
          </ac:spMkLst>
        </pc:spChg>
        <pc:spChg chg="mod">
          <ac:chgData name="Rajat Taneja" userId="4ec436a0-470b-456a-af42-a15c99f1cebd" providerId="ADAL" clId="{3EA19806-CD64-4375-9EA7-939EDDB50E03}" dt="2022-04-06T23:49:48.395" v="2133" actId="1036"/>
          <ac:spMkLst>
            <pc:docMk/>
            <pc:sldMk cId="4069244474" sldId="2147375114"/>
            <ac:spMk id="138" creationId="{053D4CE4-6322-4CEF-8F60-B091248CB483}"/>
          </ac:spMkLst>
        </pc:spChg>
        <pc:spChg chg="mod">
          <ac:chgData name="Rajat Taneja" userId="4ec436a0-470b-456a-af42-a15c99f1cebd" providerId="ADAL" clId="{3EA19806-CD64-4375-9EA7-939EDDB50E03}" dt="2022-04-06T23:49:48.395" v="2133" actId="1036"/>
          <ac:spMkLst>
            <pc:docMk/>
            <pc:sldMk cId="4069244474" sldId="2147375114"/>
            <ac:spMk id="139" creationId="{9E70681F-562C-4459-A2EC-E32341EF1506}"/>
          </ac:spMkLst>
        </pc:spChg>
        <pc:spChg chg="mod">
          <ac:chgData name="Rajat Taneja" userId="4ec436a0-470b-456a-af42-a15c99f1cebd" providerId="ADAL" clId="{3EA19806-CD64-4375-9EA7-939EDDB50E03}" dt="2022-04-06T23:49:48.395" v="2133" actId="1036"/>
          <ac:spMkLst>
            <pc:docMk/>
            <pc:sldMk cId="4069244474" sldId="2147375114"/>
            <ac:spMk id="140" creationId="{6381C71F-D405-4F6B-9DB1-900E13C5CA7C}"/>
          </ac:spMkLst>
        </pc:spChg>
        <pc:spChg chg="mod">
          <ac:chgData name="Rajat Taneja" userId="4ec436a0-470b-456a-af42-a15c99f1cebd" providerId="ADAL" clId="{3EA19806-CD64-4375-9EA7-939EDDB50E03}" dt="2022-04-06T23:49:48.395" v="2133" actId="1036"/>
          <ac:spMkLst>
            <pc:docMk/>
            <pc:sldMk cId="4069244474" sldId="2147375114"/>
            <ac:spMk id="141" creationId="{39F95F6B-1968-41BC-8BF0-877E7484682F}"/>
          </ac:spMkLst>
        </pc:spChg>
        <pc:spChg chg="mod">
          <ac:chgData name="Rajat Taneja" userId="4ec436a0-470b-456a-af42-a15c99f1cebd" providerId="ADAL" clId="{3EA19806-CD64-4375-9EA7-939EDDB50E03}" dt="2022-04-06T23:49:48.395" v="2133" actId="1036"/>
          <ac:spMkLst>
            <pc:docMk/>
            <pc:sldMk cId="4069244474" sldId="2147375114"/>
            <ac:spMk id="142" creationId="{6ED62A23-0110-4210-99A4-BF3148C0A34C}"/>
          </ac:spMkLst>
        </pc:spChg>
        <pc:spChg chg="mod">
          <ac:chgData name="Rajat Taneja" userId="4ec436a0-470b-456a-af42-a15c99f1cebd" providerId="ADAL" clId="{3EA19806-CD64-4375-9EA7-939EDDB50E03}" dt="2022-04-06T23:49:48.395" v="2133" actId="1036"/>
          <ac:spMkLst>
            <pc:docMk/>
            <pc:sldMk cId="4069244474" sldId="2147375114"/>
            <ac:spMk id="143" creationId="{9FB12CEF-E817-460D-93EE-5947A2635EFC}"/>
          </ac:spMkLst>
        </pc:spChg>
        <pc:spChg chg="mod">
          <ac:chgData name="Rajat Taneja" userId="4ec436a0-470b-456a-af42-a15c99f1cebd" providerId="ADAL" clId="{3EA19806-CD64-4375-9EA7-939EDDB50E03}" dt="2022-04-06T23:49:48.395" v="2133" actId="1036"/>
          <ac:spMkLst>
            <pc:docMk/>
            <pc:sldMk cId="4069244474" sldId="2147375114"/>
            <ac:spMk id="144" creationId="{A76A009D-2039-4CD7-AC76-568198FB5C5B}"/>
          </ac:spMkLst>
        </pc:spChg>
        <pc:spChg chg="mod">
          <ac:chgData name="Rajat Taneja" userId="4ec436a0-470b-456a-af42-a15c99f1cebd" providerId="ADAL" clId="{3EA19806-CD64-4375-9EA7-939EDDB50E03}" dt="2022-04-06T23:49:48.395" v="2133" actId="1036"/>
          <ac:spMkLst>
            <pc:docMk/>
            <pc:sldMk cId="4069244474" sldId="2147375114"/>
            <ac:spMk id="145" creationId="{637D27E7-8D0C-4CDA-B1D2-6F22BB584535}"/>
          </ac:spMkLst>
        </pc:spChg>
        <pc:spChg chg="mod">
          <ac:chgData name="Rajat Taneja" userId="4ec436a0-470b-456a-af42-a15c99f1cebd" providerId="ADAL" clId="{3EA19806-CD64-4375-9EA7-939EDDB50E03}" dt="2022-04-06T23:49:48.395" v="2133" actId="1036"/>
          <ac:spMkLst>
            <pc:docMk/>
            <pc:sldMk cId="4069244474" sldId="2147375114"/>
            <ac:spMk id="146" creationId="{7A401EBC-545D-4116-910C-AA497E5D64EF}"/>
          </ac:spMkLst>
        </pc:spChg>
        <pc:spChg chg="mod">
          <ac:chgData name="Rajat Taneja" userId="4ec436a0-470b-456a-af42-a15c99f1cebd" providerId="ADAL" clId="{3EA19806-CD64-4375-9EA7-939EDDB50E03}" dt="2022-04-06T23:49:48.395" v="2133" actId="1036"/>
          <ac:spMkLst>
            <pc:docMk/>
            <pc:sldMk cId="4069244474" sldId="2147375114"/>
            <ac:spMk id="147" creationId="{3D539C6E-A7DE-46B1-9C81-8668BB0AF71B}"/>
          </ac:spMkLst>
        </pc:spChg>
        <pc:spChg chg="mod">
          <ac:chgData name="Rajat Taneja" userId="4ec436a0-470b-456a-af42-a15c99f1cebd" providerId="ADAL" clId="{3EA19806-CD64-4375-9EA7-939EDDB50E03}" dt="2022-04-06T23:49:48.395" v="2133" actId="1036"/>
          <ac:spMkLst>
            <pc:docMk/>
            <pc:sldMk cId="4069244474" sldId="2147375114"/>
            <ac:spMk id="148" creationId="{F67E15CC-C13F-4659-A104-B5C40D70D029}"/>
          </ac:spMkLst>
        </pc:spChg>
        <pc:spChg chg="mod">
          <ac:chgData name="Rajat Taneja" userId="4ec436a0-470b-456a-af42-a15c99f1cebd" providerId="ADAL" clId="{3EA19806-CD64-4375-9EA7-939EDDB50E03}" dt="2022-04-06T23:49:48.395" v="2133" actId="1036"/>
          <ac:spMkLst>
            <pc:docMk/>
            <pc:sldMk cId="4069244474" sldId="2147375114"/>
            <ac:spMk id="149" creationId="{D921E876-44F9-4F9B-AA93-C03429EA318C}"/>
          </ac:spMkLst>
        </pc:spChg>
        <pc:spChg chg="mod">
          <ac:chgData name="Rajat Taneja" userId="4ec436a0-470b-456a-af42-a15c99f1cebd" providerId="ADAL" clId="{3EA19806-CD64-4375-9EA7-939EDDB50E03}" dt="2022-04-06T23:49:48.395" v="2133" actId="1036"/>
          <ac:spMkLst>
            <pc:docMk/>
            <pc:sldMk cId="4069244474" sldId="2147375114"/>
            <ac:spMk id="150" creationId="{236F1F76-9EAE-4904-9878-CCC0F2805952}"/>
          </ac:spMkLst>
        </pc:spChg>
        <pc:spChg chg="mod">
          <ac:chgData name="Rajat Taneja" userId="4ec436a0-470b-456a-af42-a15c99f1cebd" providerId="ADAL" clId="{3EA19806-CD64-4375-9EA7-939EDDB50E03}" dt="2022-04-06T23:49:48.395" v="2133" actId="1036"/>
          <ac:spMkLst>
            <pc:docMk/>
            <pc:sldMk cId="4069244474" sldId="2147375114"/>
            <ac:spMk id="151" creationId="{675A18AE-A02B-469F-BD5C-98837D83E224}"/>
          </ac:spMkLst>
        </pc:spChg>
        <pc:spChg chg="mod">
          <ac:chgData name="Rajat Taneja" userId="4ec436a0-470b-456a-af42-a15c99f1cebd" providerId="ADAL" clId="{3EA19806-CD64-4375-9EA7-939EDDB50E03}" dt="2022-04-06T23:49:48.395" v="2133" actId="1036"/>
          <ac:spMkLst>
            <pc:docMk/>
            <pc:sldMk cId="4069244474" sldId="2147375114"/>
            <ac:spMk id="152" creationId="{B58D718D-7E2F-4F91-89C2-807B845CEFC8}"/>
          </ac:spMkLst>
        </pc:spChg>
        <pc:spChg chg="mod">
          <ac:chgData name="Rajat Taneja" userId="4ec436a0-470b-456a-af42-a15c99f1cebd" providerId="ADAL" clId="{3EA19806-CD64-4375-9EA7-939EDDB50E03}" dt="2022-04-06T23:49:48.395" v="2133" actId="1036"/>
          <ac:spMkLst>
            <pc:docMk/>
            <pc:sldMk cId="4069244474" sldId="2147375114"/>
            <ac:spMk id="153" creationId="{D7CB7D6B-F1A0-45C9-A015-72B7A159592E}"/>
          </ac:spMkLst>
        </pc:spChg>
        <pc:spChg chg="mod">
          <ac:chgData name="Rajat Taneja" userId="4ec436a0-470b-456a-af42-a15c99f1cebd" providerId="ADAL" clId="{3EA19806-CD64-4375-9EA7-939EDDB50E03}" dt="2022-04-06T23:49:48.395" v="2133" actId="1036"/>
          <ac:spMkLst>
            <pc:docMk/>
            <pc:sldMk cId="4069244474" sldId="2147375114"/>
            <ac:spMk id="154" creationId="{DBEC1A95-4CFF-464A-9149-8AE0308AE607}"/>
          </ac:spMkLst>
        </pc:spChg>
        <pc:spChg chg="mod">
          <ac:chgData name="Rajat Taneja" userId="4ec436a0-470b-456a-af42-a15c99f1cebd" providerId="ADAL" clId="{3EA19806-CD64-4375-9EA7-939EDDB50E03}" dt="2022-04-06T23:49:48.395" v="2133" actId="1036"/>
          <ac:spMkLst>
            <pc:docMk/>
            <pc:sldMk cId="4069244474" sldId="2147375114"/>
            <ac:spMk id="155" creationId="{0B963EBC-C824-41B2-85BB-91BB59D0F273}"/>
          </ac:spMkLst>
        </pc:spChg>
        <pc:spChg chg="mod">
          <ac:chgData name="Rajat Taneja" userId="4ec436a0-470b-456a-af42-a15c99f1cebd" providerId="ADAL" clId="{3EA19806-CD64-4375-9EA7-939EDDB50E03}" dt="2022-04-06T23:49:48.395" v="2133" actId="1036"/>
          <ac:spMkLst>
            <pc:docMk/>
            <pc:sldMk cId="4069244474" sldId="2147375114"/>
            <ac:spMk id="156" creationId="{AE8A9554-7B49-48CC-80E0-EA953C6D0FDF}"/>
          </ac:spMkLst>
        </pc:spChg>
        <pc:spChg chg="mod">
          <ac:chgData name="Rajat Taneja" userId="4ec436a0-470b-456a-af42-a15c99f1cebd" providerId="ADAL" clId="{3EA19806-CD64-4375-9EA7-939EDDB50E03}" dt="2022-04-06T23:49:48.395" v="2133" actId="1036"/>
          <ac:spMkLst>
            <pc:docMk/>
            <pc:sldMk cId="4069244474" sldId="2147375114"/>
            <ac:spMk id="157" creationId="{E95A74D0-945E-4426-9381-40B0EBC5641F}"/>
          </ac:spMkLst>
        </pc:spChg>
        <pc:spChg chg="mod">
          <ac:chgData name="Rajat Taneja" userId="4ec436a0-470b-456a-af42-a15c99f1cebd" providerId="ADAL" clId="{3EA19806-CD64-4375-9EA7-939EDDB50E03}" dt="2022-04-06T23:49:48.395" v="2133" actId="1036"/>
          <ac:spMkLst>
            <pc:docMk/>
            <pc:sldMk cId="4069244474" sldId="2147375114"/>
            <ac:spMk id="158" creationId="{BB242911-210A-442B-9BF3-C3C833E7B347}"/>
          </ac:spMkLst>
        </pc:spChg>
        <pc:spChg chg="mod">
          <ac:chgData name="Rajat Taneja" userId="4ec436a0-470b-456a-af42-a15c99f1cebd" providerId="ADAL" clId="{3EA19806-CD64-4375-9EA7-939EDDB50E03}" dt="2022-04-06T23:49:48.395" v="2133" actId="1036"/>
          <ac:spMkLst>
            <pc:docMk/>
            <pc:sldMk cId="4069244474" sldId="2147375114"/>
            <ac:spMk id="159" creationId="{AD949CDD-545F-4FF6-A8CD-92DCD37FE3EC}"/>
          </ac:spMkLst>
        </pc:spChg>
        <pc:spChg chg="mod">
          <ac:chgData name="Rajat Taneja" userId="4ec436a0-470b-456a-af42-a15c99f1cebd" providerId="ADAL" clId="{3EA19806-CD64-4375-9EA7-939EDDB50E03}" dt="2022-04-06T23:49:48.395" v="2133" actId="1036"/>
          <ac:spMkLst>
            <pc:docMk/>
            <pc:sldMk cId="4069244474" sldId="2147375114"/>
            <ac:spMk id="160" creationId="{5B8E8556-052F-453D-A971-802B4A1F6364}"/>
          </ac:spMkLst>
        </pc:spChg>
        <pc:spChg chg="mod">
          <ac:chgData name="Rajat Taneja" userId="4ec436a0-470b-456a-af42-a15c99f1cebd" providerId="ADAL" clId="{3EA19806-CD64-4375-9EA7-939EDDB50E03}" dt="2022-04-06T23:49:48.395" v="2133" actId="1036"/>
          <ac:spMkLst>
            <pc:docMk/>
            <pc:sldMk cId="4069244474" sldId="2147375114"/>
            <ac:spMk id="161" creationId="{3FF7103A-5FF7-4185-A77B-C02F764C6313}"/>
          </ac:spMkLst>
        </pc:spChg>
        <pc:spChg chg="mod">
          <ac:chgData name="Rajat Taneja" userId="4ec436a0-470b-456a-af42-a15c99f1cebd" providerId="ADAL" clId="{3EA19806-CD64-4375-9EA7-939EDDB50E03}" dt="2022-04-06T23:49:48.395" v="2133" actId="1036"/>
          <ac:spMkLst>
            <pc:docMk/>
            <pc:sldMk cId="4069244474" sldId="2147375114"/>
            <ac:spMk id="162" creationId="{4738158E-69CF-472C-A8F9-CB39FD8F6A6E}"/>
          </ac:spMkLst>
        </pc:spChg>
        <pc:spChg chg="mod">
          <ac:chgData name="Rajat Taneja" userId="4ec436a0-470b-456a-af42-a15c99f1cebd" providerId="ADAL" clId="{3EA19806-CD64-4375-9EA7-939EDDB50E03}" dt="2022-04-06T23:49:48.395" v="2133" actId="1036"/>
          <ac:spMkLst>
            <pc:docMk/>
            <pc:sldMk cId="4069244474" sldId="2147375114"/>
            <ac:spMk id="163" creationId="{3E538107-5225-40A7-98DC-4B9601586BC7}"/>
          </ac:spMkLst>
        </pc:spChg>
        <pc:spChg chg="mod">
          <ac:chgData name="Rajat Taneja" userId="4ec436a0-470b-456a-af42-a15c99f1cebd" providerId="ADAL" clId="{3EA19806-CD64-4375-9EA7-939EDDB50E03}" dt="2022-04-06T23:49:48.395" v="2133" actId="1036"/>
          <ac:spMkLst>
            <pc:docMk/>
            <pc:sldMk cId="4069244474" sldId="2147375114"/>
            <ac:spMk id="164" creationId="{4890C991-0523-464F-B340-001D71F08AAD}"/>
          </ac:spMkLst>
        </pc:spChg>
        <pc:spChg chg="mod">
          <ac:chgData name="Rajat Taneja" userId="4ec436a0-470b-456a-af42-a15c99f1cebd" providerId="ADAL" clId="{3EA19806-CD64-4375-9EA7-939EDDB50E03}" dt="2022-04-06T23:49:48.395" v="2133" actId="1036"/>
          <ac:spMkLst>
            <pc:docMk/>
            <pc:sldMk cId="4069244474" sldId="2147375114"/>
            <ac:spMk id="165" creationId="{801F3554-60D5-4419-9513-B916EA6326F1}"/>
          </ac:spMkLst>
        </pc:spChg>
        <pc:spChg chg="mod">
          <ac:chgData name="Rajat Taneja" userId="4ec436a0-470b-456a-af42-a15c99f1cebd" providerId="ADAL" clId="{3EA19806-CD64-4375-9EA7-939EDDB50E03}" dt="2022-04-06T23:49:48.395" v="2133" actId="1036"/>
          <ac:spMkLst>
            <pc:docMk/>
            <pc:sldMk cId="4069244474" sldId="2147375114"/>
            <ac:spMk id="166" creationId="{DBE2389B-DA21-4B39-8F19-1AAA63220372}"/>
          </ac:spMkLst>
        </pc:spChg>
        <pc:spChg chg="mod">
          <ac:chgData name="Rajat Taneja" userId="4ec436a0-470b-456a-af42-a15c99f1cebd" providerId="ADAL" clId="{3EA19806-CD64-4375-9EA7-939EDDB50E03}" dt="2022-04-06T23:49:48.395" v="2133" actId="1036"/>
          <ac:spMkLst>
            <pc:docMk/>
            <pc:sldMk cId="4069244474" sldId="2147375114"/>
            <ac:spMk id="167" creationId="{5BFAFF5C-41F4-4EEB-9BFF-0CEE5451400E}"/>
          </ac:spMkLst>
        </pc:spChg>
        <pc:spChg chg="mod">
          <ac:chgData name="Rajat Taneja" userId="4ec436a0-470b-456a-af42-a15c99f1cebd" providerId="ADAL" clId="{3EA19806-CD64-4375-9EA7-939EDDB50E03}" dt="2022-04-06T23:49:48.395" v="2133" actId="1036"/>
          <ac:spMkLst>
            <pc:docMk/>
            <pc:sldMk cId="4069244474" sldId="2147375114"/>
            <ac:spMk id="168" creationId="{7326E3FD-6237-4E06-B551-6C400C252BA3}"/>
          </ac:spMkLst>
        </pc:spChg>
        <pc:spChg chg="mod">
          <ac:chgData name="Rajat Taneja" userId="4ec436a0-470b-456a-af42-a15c99f1cebd" providerId="ADAL" clId="{3EA19806-CD64-4375-9EA7-939EDDB50E03}" dt="2022-04-06T23:49:48.395" v="2133" actId="1036"/>
          <ac:spMkLst>
            <pc:docMk/>
            <pc:sldMk cId="4069244474" sldId="2147375114"/>
            <ac:spMk id="169" creationId="{D84B72DC-0131-45C3-BEDE-C1AD65764AFE}"/>
          </ac:spMkLst>
        </pc:spChg>
        <pc:spChg chg="mod topLvl">
          <ac:chgData name="Rajat Taneja" userId="4ec436a0-470b-456a-af42-a15c99f1cebd" providerId="ADAL" clId="{3EA19806-CD64-4375-9EA7-939EDDB50E03}" dt="2022-04-06T04:29:51.956" v="1909" actId="1036"/>
          <ac:spMkLst>
            <pc:docMk/>
            <pc:sldMk cId="4069244474" sldId="2147375114"/>
            <ac:spMk id="171" creationId="{DC1AA892-E330-4772-AE06-A87468AA4100}"/>
          </ac:spMkLst>
        </pc:spChg>
        <pc:spChg chg="add mod">
          <ac:chgData name="Rajat Taneja" userId="4ec436a0-470b-456a-af42-a15c99f1cebd" providerId="ADAL" clId="{3EA19806-CD64-4375-9EA7-939EDDB50E03}" dt="2022-07-13T01:25:49.805" v="3407" actId="20577"/>
          <ac:spMkLst>
            <pc:docMk/>
            <pc:sldMk cId="4069244474" sldId="2147375114"/>
            <ac:spMk id="173" creationId="{C5324F52-0707-4C74-88D5-01C4562A4A66}"/>
          </ac:spMkLst>
        </pc:spChg>
        <pc:spChg chg="add mod">
          <ac:chgData name="Rajat Taneja" userId="4ec436a0-470b-456a-af42-a15c99f1cebd" providerId="ADAL" clId="{3EA19806-CD64-4375-9EA7-939EDDB50E03}" dt="2022-04-06T23:49:48.395" v="2133" actId="1036"/>
          <ac:spMkLst>
            <pc:docMk/>
            <pc:sldMk cId="4069244474" sldId="2147375114"/>
            <ac:spMk id="175" creationId="{7DBCF2FA-1BB1-41B9-8BA9-72EBA00C3717}"/>
          </ac:spMkLst>
        </pc:spChg>
        <pc:spChg chg="add mod">
          <ac:chgData name="Rajat Taneja" userId="4ec436a0-470b-456a-af42-a15c99f1cebd" providerId="ADAL" clId="{3EA19806-CD64-4375-9EA7-939EDDB50E03}" dt="2022-04-06T01:51:58.821" v="837" actId="571"/>
          <ac:spMkLst>
            <pc:docMk/>
            <pc:sldMk cId="4069244474" sldId="2147375114"/>
            <ac:spMk id="177" creationId="{9CB6D2A0-1A0A-4A43-B5F7-B34711DE2C1D}"/>
          </ac:spMkLst>
        </pc:spChg>
        <pc:spChg chg="add mod">
          <ac:chgData name="Rajat Taneja" userId="4ec436a0-470b-456a-af42-a15c99f1cebd" providerId="ADAL" clId="{3EA19806-CD64-4375-9EA7-939EDDB50E03}" dt="2022-04-06T04:30:13.775" v="1929" actId="465"/>
          <ac:spMkLst>
            <pc:docMk/>
            <pc:sldMk cId="4069244474" sldId="2147375114"/>
            <ac:spMk id="178" creationId="{1996C989-C161-4BE0-A92A-E0481335CEB9}"/>
          </ac:spMkLst>
        </pc:spChg>
        <pc:spChg chg="add mod">
          <ac:chgData name="Rajat Taneja" userId="4ec436a0-470b-456a-af42-a15c99f1cebd" providerId="ADAL" clId="{3EA19806-CD64-4375-9EA7-939EDDB50E03}" dt="2022-04-06T04:30:00.866" v="1928" actId="1035"/>
          <ac:spMkLst>
            <pc:docMk/>
            <pc:sldMk cId="4069244474" sldId="2147375114"/>
            <ac:spMk id="181" creationId="{DFF935D1-F227-40EE-93BB-DADE6C66DAFD}"/>
          </ac:spMkLst>
        </pc:spChg>
        <pc:spChg chg="add mod">
          <ac:chgData name="Rajat Taneja" userId="4ec436a0-470b-456a-af42-a15c99f1cebd" providerId="ADAL" clId="{3EA19806-CD64-4375-9EA7-939EDDB50E03}" dt="2022-04-06T23:49:48.395" v="2133" actId="1036"/>
          <ac:spMkLst>
            <pc:docMk/>
            <pc:sldMk cId="4069244474" sldId="2147375114"/>
            <ac:spMk id="182" creationId="{DF8EF60D-94DD-4546-A0E4-3575DF8737AC}"/>
          </ac:spMkLst>
        </pc:spChg>
        <pc:spChg chg="add del mod modVis">
          <ac:chgData name="Rajat Taneja" userId="4ec436a0-470b-456a-af42-a15c99f1cebd" providerId="ADAL" clId="{3EA19806-CD64-4375-9EA7-939EDDB50E03}" dt="2022-04-06T02:38:06.872" v="1834"/>
          <ac:spMkLst>
            <pc:docMk/>
            <pc:sldMk cId="4069244474" sldId="2147375114"/>
            <ac:spMk id="190" creationId="{AD916CAF-E7E8-4CF3-BB0A-2A617CAAE194}"/>
          </ac:spMkLst>
        </pc:spChg>
        <pc:spChg chg="add del mod modVis">
          <ac:chgData name="Rajat Taneja" userId="4ec436a0-470b-456a-af42-a15c99f1cebd" providerId="ADAL" clId="{3EA19806-CD64-4375-9EA7-939EDDB50E03}" dt="2022-04-06T02:38:12.329" v="1878"/>
          <ac:spMkLst>
            <pc:docMk/>
            <pc:sldMk cId="4069244474" sldId="2147375114"/>
            <ac:spMk id="191" creationId="{E6302149-36F3-433B-B955-E02DF3CE28F2}"/>
          </ac:spMkLst>
        </pc:spChg>
        <pc:grpChg chg="add mod">
          <ac:chgData name="Rajat Taneja" userId="4ec436a0-470b-456a-af42-a15c99f1cebd" providerId="ADAL" clId="{3EA19806-CD64-4375-9EA7-939EDDB50E03}" dt="2022-04-06T23:49:48.395" v="2133" actId="1036"/>
          <ac:grpSpMkLst>
            <pc:docMk/>
            <pc:sldMk cId="4069244474" sldId="2147375114"/>
            <ac:grpSpMk id="25" creationId="{872080DB-0ECA-4F8D-821C-5B99CE7636B4}"/>
          </ac:grpSpMkLst>
        </pc:grpChg>
        <pc:grpChg chg="add del mod">
          <ac:chgData name="Rajat Taneja" userId="4ec436a0-470b-456a-af42-a15c99f1cebd" providerId="ADAL" clId="{3EA19806-CD64-4375-9EA7-939EDDB50E03}" dt="2022-04-06T02:05:05.298" v="1498" actId="165"/>
          <ac:grpSpMkLst>
            <pc:docMk/>
            <pc:sldMk cId="4069244474" sldId="2147375114"/>
            <ac:grpSpMk id="170" creationId="{122A52BB-ED11-4FE8-827D-024690D8C1A8}"/>
          </ac:grpSpMkLst>
        </pc:grpChg>
        <pc:grpChg chg="add del mod">
          <ac:chgData name="Rajat Taneja" userId="4ec436a0-470b-456a-af42-a15c99f1cebd" providerId="ADAL" clId="{3EA19806-CD64-4375-9EA7-939EDDB50E03}" dt="2022-04-06T23:49:48.395" v="2133" actId="1036"/>
          <ac:grpSpMkLst>
            <pc:docMk/>
            <pc:sldMk cId="4069244474" sldId="2147375114"/>
            <ac:grpSpMk id="180" creationId="{2323BB50-C1B7-4E36-B870-10E6EE951FC8}"/>
          </ac:grpSpMkLst>
        </pc:grpChg>
        <pc:grpChg chg="add mod">
          <ac:chgData name="Rajat Taneja" userId="4ec436a0-470b-456a-af42-a15c99f1cebd" providerId="ADAL" clId="{3EA19806-CD64-4375-9EA7-939EDDB50E03}" dt="2022-04-06T23:49:48.395" v="2133" actId="1036"/>
          <ac:grpSpMkLst>
            <pc:docMk/>
            <pc:sldMk cId="4069244474" sldId="2147375114"/>
            <ac:grpSpMk id="183" creationId="{F81D9EC5-849A-4FA4-8FB4-D7BF0173238B}"/>
          </ac:grpSpMkLst>
        </pc:grpChg>
        <pc:grpChg chg="add mod">
          <ac:chgData name="Rajat Taneja" userId="4ec436a0-470b-456a-af42-a15c99f1cebd" providerId="ADAL" clId="{3EA19806-CD64-4375-9EA7-939EDDB50E03}" dt="2022-04-06T23:49:48.395" v="2133" actId="1036"/>
          <ac:grpSpMkLst>
            <pc:docMk/>
            <pc:sldMk cId="4069244474" sldId="2147375114"/>
            <ac:grpSpMk id="184" creationId="{C2761359-9EC7-41DA-A907-278AD1AFF27F}"/>
          </ac:grpSpMkLst>
        </pc:grpChg>
        <pc:grpChg chg="add mod">
          <ac:chgData name="Rajat Taneja" userId="4ec436a0-470b-456a-af42-a15c99f1cebd" providerId="ADAL" clId="{3EA19806-CD64-4375-9EA7-939EDDB50E03}" dt="2022-04-06T23:49:48.395" v="2133" actId="1036"/>
          <ac:grpSpMkLst>
            <pc:docMk/>
            <pc:sldMk cId="4069244474" sldId="2147375114"/>
            <ac:grpSpMk id="185" creationId="{A050EA7F-A047-4D5D-9E73-9877CFF71B65}"/>
          </ac:grpSpMkLst>
        </pc:grpChg>
        <pc:grpChg chg="add mod">
          <ac:chgData name="Rajat Taneja" userId="4ec436a0-470b-456a-af42-a15c99f1cebd" providerId="ADAL" clId="{3EA19806-CD64-4375-9EA7-939EDDB50E03}" dt="2022-04-06T04:30:13.775" v="1929" actId="465"/>
          <ac:grpSpMkLst>
            <pc:docMk/>
            <pc:sldMk cId="4069244474" sldId="2147375114"/>
            <ac:grpSpMk id="186" creationId="{68D63E04-4BF7-4CAF-8432-02E4B525EF05}"/>
          </ac:grpSpMkLst>
        </pc:grpChg>
        <pc:grpChg chg="add mod">
          <ac:chgData name="Rajat Taneja" userId="4ec436a0-470b-456a-af42-a15c99f1cebd" providerId="ADAL" clId="{3EA19806-CD64-4375-9EA7-939EDDB50E03}" dt="2022-04-06T04:30:13.775" v="1929" actId="465"/>
          <ac:grpSpMkLst>
            <pc:docMk/>
            <pc:sldMk cId="4069244474" sldId="2147375114"/>
            <ac:grpSpMk id="187" creationId="{61A3A8E2-13F2-4FAB-A2B7-F3DBED0576F6}"/>
          </ac:grpSpMkLst>
        </pc:grpChg>
        <pc:grpChg chg="add mod">
          <ac:chgData name="Rajat Taneja" userId="4ec436a0-470b-456a-af42-a15c99f1cebd" providerId="ADAL" clId="{3EA19806-CD64-4375-9EA7-939EDDB50E03}" dt="2022-04-06T04:30:13.775" v="1929" actId="465"/>
          <ac:grpSpMkLst>
            <pc:docMk/>
            <pc:sldMk cId="4069244474" sldId="2147375114"/>
            <ac:grpSpMk id="188" creationId="{E97DD9F5-416B-4282-A2D4-BFB14477ABC2}"/>
          </ac:grpSpMkLst>
        </pc:grpChg>
        <pc:grpChg chg="add mod">
          <ac:chgData name="Rajat Taneja" userId="4ec436a0-470b-456a-af42-a15c99f1cebd" providerId="ADAL" clId="{3EA19806-CD64-4375-9EA7-939EDDB50E03}" dt="2022-04-06T04:30:13.775" v="1929" actId="465"/>
          <ac:grpSpMkLst>
            <pc:docMk/>
            <pc:sldMk cId="4069244474" sldId="2147375114"/>
            <ac:grpSpMk id="189" creationId="{B173043F-2009-4556-BAAF-F8DB7712FCF1}"/>
          </ac:grpSpMkLst>
        </pc:grpChg>
        <pc:graphicFrameChg chg="add mod ord modVis replST">
          <ac:chgData name="Rajat Taneja" userId="4ec436a0-470b-456a-af42-a15c99f1cebd" providerId="ADAL" clId="{3EA19806-CD64-4375-9EA7-939EDDB50E03}" dt="2022-06-14T05:08:04.736" v="3401"/>
          <ac:graphicFrameMkLst>
            <pc:docMk/>
            <pc:sldMk cId="4069244474" sldId="2147375114"/>
            <ac:graphicFrameMk id="6" creationId="{0634A6EB-CB29-446A-AD1E-E09F0A083A3F}"/>
          </ac:graphicFrameMkLst>
        </pc:graphicFrameChg>
        <pc:picChg chg="add mod">
          <ac:chgData name="Rajat Taneja" userId="4ec436a0-470b-456a-af42-a15c99f1cebd" providerId="ADAL" clId="{3EA19806-CD64-4375-9EA7-939EDDB50E03}" dt="2022-04-06T04:30:13.775" v="1929" actId="465"/>
          <ac:picMkLst>
            <pc:docMk/>
            <pc:sldMk cId="4069244474" sldId="2147375114"/>
            <ac:picMk id="17" creationId="{8C0C49A3-FF1B-40AD-9EFE-6D2F19CC33FA}"/>
          </ac:picMkLst>
        </pc:picChg>
        <pc:picChg chg="add mod">
          <ac:chgData name="Rajat Taneja" userId="4ec436a0-470b-456a-af42-a15c99f1cebd" providerId="ADAL" clId="{3EA19806-CD64-4375-9EA7-939EDDB50E03}" dt="2022-04-06T23:49:48.395" v="2133" actId="1036"/>
          <ac:picMkLst>
            <pc:docMk/>
            <pc:sldMk cId="4069244474" sldId="2147375114"/>
            <ac:picMk id="19" creationId="{DB3DABA6-9A8A-49E5-BF64-678EB1E157E7}"/>
          </ac:picMkLst>
        </pc:picChg>
        <pc:picChg chg="add mod">
          <ac:chgData name="Rajat Taneja" userId="4ec436a0-470b-456a-af42-a15c99f1cebd" providerId="ADAL" clId="{3EA19806-CD64-4375-9EA7-939EDDB50E03}" dt="2022-04-06T23:49:48.395" v="2133" actId="1036"/>
          <ac:picMkLst>
            <pc:docMk/>
            <pc:sldMk cId="4069244474" sldId="2147375114"/>
            <ac:picMk id="21" creationId="{C1CC2CBC-DA72-4D3E-8C35-94F59F06D182}"/>
          </ac:picMkLst>
        </pc:picChg>
        <pc:picChg chg="add del mod">
          <ac:chgData name="Rajat Taneja" userId="4ec436a0-470b-456a-af42-a15c99f1cebd" providerId="ADAL" clId="{3EA19806-CD64-4375-9EA7-939EDDB50E03}" dt="2022-04-06T01:23:15.601" v="508" actId="478"/>
          <ac:picMkLst>
            <pc:docMk/>
            <pc:sldMk cId="4069244474" sldId="2147375114"/>
            <ac:picMk id="23" creationId="{9D9F4ECF-723C-4E69-AA25-FEBCFA5DAC53}"/>
          </ac:picMkLst>
        </pc:picChg>
        <pc:picChg chg="mod topLvl">
          <ac:chgData name="Rajat Taneja" userId="4ec436a0-470b-456a-af42-a15c99f1cebd" providerId="ADAL" clId="{3EA19806-CD64-4375-9EA7-939EDDB50E03}" dt="2022-04-06T04:29:51.956" v="1909" actId="1036"/>
          <ac:picMkLst>
            <pc:docMk/>
            <pc:sldMk cId="4069244474" sldId="2147375114"/>
            <ac:picMk id="172" creationId="{99C74AEC-5258-465A-8377-F804717F3120}"/>
          </ac:picMkLst>
        </pc:picChg>
        <pc:picChg chg="add del mod">
          <ac:chgData name="Rajat Taneja" userId="4ec436a0-470b-456a-af42-a15c99f1cebd" providerId="ADAL" clId="{3EA19806-CD64-4375-9EA7-939EDDB50E03}" dt="2022-04-06T01:52:01.828" v="838" actId="478"/>
          <ac:picMkLst>
            <pc:docMk/>
            <pc:sldMk cId="4069244474" sldId="2147375114"/>
            <ac:picMk id="176" creationId="{B0B11C50-6C80-4DC0-81E3-65F917EBB0F9}"/>
          </ac:picMkLst>
        </pc:picChg>
        <pc:picChg chg="add mod">
          <ac:chgData name="Rajat Taneja" userId="4ec436a0-470b-456a-af42-a15c99f1cebd" providerId="ADAL" clId="{3EA19806-CD64-4375-9EA7-939EDDB50E03}" dt="2022-04-06T04:30:00.866" v="1928" actId="1035"/>
          <ac:picMkLst>
            <pc:docMk/>
            <pc:sldMk cId="4069244474" sldId="2147375114"/>
            <ac:picMk id="179" creationId="{1D0AE606-B70B-400B-BB28-7C4821C22E69}"/>
          </ac:picMkLst>
        </pc:picChg>
        <pc:picChg chg="add mod">
          <ac:chgData name="Rajat Taneja" userId="4ec436a0-470b-456a-af42-a15c99f1cebd" providerId="ADAL" clId="{3EA19806-CD64-4375-9EA7-939EDDB50E03}" dt="2022-04-06T04:30:13.775" v="1929" actId="465"/>
          <ac:picMkLst>
            <pc:docMk/>
            <pc:sldMk cId="4069244474" sldId="2147375114"/>
            <ac:picMk id="3074" creationId="{E9EB6FC1-776E-4F7E-BDBA-EC8A0654F37D}"/>
          </ac:picMkLst>
        </pc:picChg>
        <pc:picChg chg="add mod">
          <ac:chgData name="Rajat Taneja" userId="4ec436a0-470b-456a-af42-a15c99f1cebd" providerId="ADAL" clId="{3EA19806-CD64-4375-9EA7-939EDDB50E03}" dt="2022-04-06T23:49:48.395" v="2133" actId="1036"/>
          <ac:picMkLst>
            <pc:docMk/>
            <pc:sldMk cId="4069244474" sldId="2147375114"/>
            <ac:picMk id="3076" creationId="{3152BC7A-CA2F-47E2-B5CE-49A9A37A3360}"/>
          </ac:picMkLst>
        </pc:picChg>
      </pc:sldChg>
      <pc:sldChg chg="addSp modSp new add del mod">
        <pc:chgData name="Rajat Taneja" userId="4ec436a0-470b-456a-af42-a15c99f1cebd" providerId="ADAL" clId="{3EA19806-CD64-4375-9EA7-939EDDB50E03}" dt="2022-04-29T05:34:38.495" v="2154" actId="47"/>
        <pc:sldMkLst>
          <pc:docMk/>
          <pc:sldMk cId="429046302" sldId="2147375115"/>
        </pc:sldMkLst>
        <pc:spChg chg="mod">
          <ac:chgData name="Rajat Taneja" userId="4ec436a0-470b-456a-af42-a15c99f1cebd" providerId="ADAL" clId="{3EA19806-CD64-4375-9EA7-939EDDB50E03}" dt="2022-04-29T05:34:35.899" v="2137" actId="27636"/>
          <ac:spMkLst>
            <pc:docMk/>
            <pc:sldMk cId="429046302" sldId="2147375115"/>
            <ac:spMk id="2" creationId="{7E051AA4-6DB0-4801-B160-F5DB84AE6BAA}"/>
          </ac:spMkLst>
        </pc:spChg>
        <pc:graphicFrameChg chg="add mod ord modVis replST">
          <ac:chgData name="Rajat Taneja" userId="4ec436a0-470b-456a-af42-a15c99f1cebd" providerId="ADAL" clId="{3EA19806-CD64-4375-9EA7-939EDDB50E03}" dt="2022-04-29T05:34:36.490" v="2153"/>
          <ac:graphicFrameMkLst>
            <pc:docMk/>
            <pc:sldMk cId="429046302" sldId="2147375115"/>
            <ac:graphicFrameMk id="6" creationId="{3E50FA58-CF77-4882-A4AA-53540CBA4DC0}"/>
          </ac:graphicFrameMkLst>
        </pc:graphicFrameChg>
      </pc:sldChg>
      <pc:sldChg chg="addSp delSp modSp new add del mod">
        <pc:chgData name="Rajat Taneja" userId="4ec436a0-470b-456a-af42-a15c99f1cebd" providerId="ADAL" clId="{3EA19806-CD64-4375-9EA7-939EDDB50E03}" dt="2022-04-06T02:07:39.284" v="1500" actId="2696"/>
        <pc:sldMkLst>
          <pc:docMk/>
          <pc:sldMk cId="658632293" sldId="2147375115"/>
        </pc:sldMkLst>
        <pc:spChg chg="del">
          <ac:chgData name="Rajat Taneja" userId="4ec436a0-470b-456a-af42-a15c99f1cebd" providerId="ADAL" clId="{3EA19806-CD64-4375-9EA7-939EDDB50E03}" dt="2022-04-06T01:24:16.041" v="548" actId="478"/>
          <ac:spMkLst>
            <pc:docMk/>
            <pc:sldMk cId="658632293" sldId="2147375115"/>
            <ac:spMk id="4" creationId="{0F6CEA4F-03EE-43D7-A1F7-76A9D59D5DED}"/>
          </ac:spMkLst>
        </pc:spChg>
        <pc:spChg chg="add mod">
          <ac:chgData name="Rajat Taneja" userId="4ec436a0-470b-456a-af42-a15c99f1cebd" providerId="ADAL" clId="{3EA19806-CD64-4375-9EA7-939EDDB50E03}" dt="2022-04-06T01:25:30.953" v="569" actId="14100"/>
          <ac:spMkLst>
            <pc:docMk/>
            <pc:sldMk cId="658632293" sldId="2147375115"/>
            <ac:spMk id="6" creationId="{B8C222BE-B692-46C5-B214-D80ECFA52DFC}"/>
          </ac:spMkLst>
        </pc:spChg>
        <pc:spChg chg="add mod">
          <ac:chgData name="Rajat Taneja" userId="4ec436a0-470b-456a-af42-a15c99f1cebd" providerId="ADAL" clId="{3EA19806-CD64-4375-9EA7-939EDDB50E03}" dt="2022-04-06T01:25:30.953" v="569" actId="14100"/>
          <ac:spMkLst>
            <pc:docMk/>
            <pc:sldMk cId="658632293" sldId="2147375115"/>
            <ac:spMk id="7" creationId="{65A54E5C-93F8-4995-8529-4BFD6D05BA8A}"/>
          </ac:spMkLst>
        </pc:spChg>
        <pc:spChg chg="add mod">
          <ac:chgData name="Rajat Taneja" userId="4ec436a0-470b-456a-af42-a15c99f1cebd" providerId="ADAL" clId="{3EA19806-CD64-4375-9EA7-939EDDB50E03}" dt="2022-04-06T01:25:30.953" v="569" actId="14100"/>
          <ac:spMkLst>
            <pc:docMk/>
            <pc:sldMk cId="658632293" sldId="2147375115"/>
            <ac:spMk id="8" creationId="{D36EC3BD-961F-4647-9E72-BA12E61A7E8D}"/>
          </ac:spMkLst>
        </pc:spChg>
        <pc:spChg chg="add mod">
          <ac:chgData name="Rajat Taneja" userId="4ec436a0-470b-456a-af42-a15c99f1cebd" providerId="ADAL" clId="{3EA19806-CD64-4375-9EA7-939EDDB50E03}" dt="2022-04-06T01:25:30.953" v="569" actId="14100"/>
          <ac:spMkLst>
            <pc:docMk/>
            <pc:sldMk cId="658632293" sldId="2147375115"/>
            <ac:spMk id="9" creationId="{197961AA-8874-43AF-8988-52BDB2AC2EE9}"/>
          </ac:spMkLst>
        </pc:spChg>
        <pc:spChg chg="add mod">
          <ac:chgData name="Rajat Taneja" userId="4ec436a0-470b-456a-af42-a15c99f1cebd" providerId="ADAL" clId="{3EA19806-CD64-4375-9EA7-939EDDB50E03}" dt="2022-04-06T01:25:30.953" v="569" actId="14100"/>
          <ac:spMkLst>
            <pc:docMk/>
            <pc:sldMk cId="658632293" sldId="2147375115"/>
            <ac:spMk id="10" creationId="{AF6B0620-F9CC-46F4-A575-EB4219646589}"/>
          </ac:spMkLst>
        </pc:spChg>
        <pc:spChg chg="add mod">
          <ac:chgData name="Rajat Taneja" userId="4ec436a0-470b-456a-af42-a15c99f1cebd" providerId="ADAL" clId="{3EA19806-CD64-4375-9EA7-939EDDB50E03}" dt="2022-04-06T01:25:30.953" v="569" actId="14100"/>
          <ac:spMkLst>
            <pc:docMk/>
            <pc:sldMk cId="658632293" sldId="2147375115"/>
            <ac:spMk id="11" creationId="{7E3BA11A-CE07-4CCE-8863-4E5D89D37DB5}"/>
          </ac:spMkLst>
        </pc:spChg>
        <pc:spChg chg="add mod">
          <ac:chgData name="Rajat Taneja" userId="4ec436a0-470b-456a-af42-a15c99f1cebd" providerId="ADAL" clId="{3EA19806-CD64-4375-9EA7-939EDDB50E03}" dt="2022-04-06T01:25:30.953" v="569" actId="14100"/>
          <ac:spMkLst>
            <pc:docMk/>
            <pc:sldMk cId="658632293" sldId="2147375115"/>
            <ac:spMk id="12" creationId="{1C1B1F68-75A4-4FA7-A045-E2EC14EA4471}"/>
          </ac:spMkLst>
        </pc:spChg>
        <pc:spChg chg="add mod">
          <ac:chgData name="Rajat Taneja" userId="4ec436a0-470b-456a-af42-a15c99f1cebd" providerId="ADAL" clId="{3EA19806-CD64-4375-9EA7-939EDDB50E03}" dt="2022-04-06T01:25:30.953" v="569" actId="14100"/>
          <ac:spMkLst>
            <pc:docMk/>
            <pc:sldMk cId="658632293" sldId="2147375115"/>
            <ac:spMk id="13" creationId="{CB227EC8-095A-4B7B-90A5-1485616C117B}"/>
          </ac:spMkLst>
        </pc:spChg>
        <pc:spChg chg="add mod">
          <ac:chgData name="Rajat Taneja" userId="4ec436a0-470b-456a-af42-a15c99f1cebd" providerId="ADAL" clId="{3EA19806-CD64-4375-9EA7-939EDDB50E03}" dt="2022-04-06T01:25:30.953" v="569" actId="14100"/>
          <ac:spMkLst>
            <pc:docMk/>
            <pc:sldMk cId="658632293" sldId="2147375115"/>
            <ac:spMk id="14" creationId="{E9479E8A-BB2F-402E-8196-1131A5B72DF2}"/>
          </ac:spMkLst>
        </pc:spChg>
        <pc:spChg chg="add mod">
          <ac:chgData name="Rajat Taneja" userId="4ec436a0-470b-456a-af42-a15c99f1cebd" providerId="ADAL" clId="{3EA19806-CD64-4375-9EA7-939EDDB50E03}" dt="2022-04-06T01:25:30.953" v="569" actId="14100"/>
          <ac:spMkLst>
            <pc:docMk/>
            <pc:sldMk cId="658632293" sldId="2147375115"/>
            <ac:spMk id="15" creationId="{0EEA8317-A29D-4506-9C61-4FDF5627FFF9}"/>
          </ac:spMkLst>
        </pc:spChg>
        <pc:spChg chg="add mod">
          <ac:chgData name="Rajat Taneja" userId="4ec436a0-470b-456a-af42-a15c99f1cebd" providerId="ADAL" clId="{3EA19806-CD64-4375-9EA7-939EDDB50E03}" dt="2022-04-06T01:25:30.953" v="569" actId="14100"/>
          <ac:spMkLst>
            <pc:docMk/>
            <pc:sldMk cId="658632293" sldId="2147375115"/>
            <ac:spMk id="16" creationId="{CFBEDCA4-4CA3-44DD-8823-78CD01687743}"/>
          </ac:spMkLst>
        </pc:spChg>
        <pc:spChg chg="add mod">
          <ac:chgData name="Rajat Taneja" userId="4ec436a0-470b-456a-af42-a15c99f1cebd" providerId="ADAL" clId="{3EA19806-CD64-4375-9EA7-939EDDB50E03}" dt="2022-04-06T01:25:30.953" v="569" actId="14100"/>
          <ac:spMkLst>
            <pc:docMk/>
            <pc:sldMk cId="658632293" sldId="2147375115"/>
            <ac:spMk id="17" creationId="{EFF33E4B-958B-41F7-BE7E-7A171F6E1D40}"/>
          </ac:spMkLst>
        </pc:spChg>
        <pc:spChg chg="add mod">
          <ac:chgData name="Rajat Taneja" userId="4ec436a0-470b-456a-af42-a15c99f1cebd" providerId="ADAL" clId="{3EA19806-CD64-4375-9EA7-939EDDB50E03}" dt="2022-04-06T01:25:30.953" v="569" actId="14100"/>
          <ac:spMkLst>
            <pc:docMk/>
            <pc:sldMk cId="658632293" sldId="2147375115"/>
            <ac:spMk id="18" creationId="{A5AB5B1C-1BD4-41AA-AB1F-CFDB2474729B}"/>
          </ac:spMkLst>
        </pc:spChg>
        <pc:spChg chg="add mod">
          <ac:chgData name="Rajat Taneja" userId="4ec436a0-470b-456a-af42-a15c99f1cebd" providerId="ADAL" clId="{3EA19806-CD64-4375-9EA7-939EDDB50E03}" dt="2022-04-06T01:25:30.953" v="569" actId="14100"/>
          <ac:spMkLst>
            <pc:docMk/>
            <pc:sldMk cId="658632293" sldId="2147375115"/>
            <ac:spMk id="19" creationId="{CE184088-6B6F-41F3-AFD4-65C545614A4F}"/>
          </ac:spMkLst>
        </pc:spChg>
        <pc:spChg chg="add mod">
          <ac:chgData name="Rajat Taneja" userId="4ec436a0-470b-456a-af42-a15c99f1cebd" providerId="ADAL" clId="{3EA19806-CD64-4375-9EA7-939EDDB50E03}" dt="2022-04-06T01:25:30.953" v="569" actId="14100"/>
          <ac:spMkLst>
            <pc:docMk/>
            <pc:sldMk cId="658632293" sldId="2147375115"/>
            <ac:spMk id="20" creationId="{3F3F5795-013B-4DD3-841A-3EAD4A8958AE}"/>
          </ac:spMkLst>
        </pc:spChg>
        <pc:spChg chg="add mod">
          <ac:chgData name="Rajat Taneja" userId="4ec436a0-470b-456a-af42-a15c99f1cebd" providerId="ADAL" clId="{3EA19806-CD64-4375-9EA7-939EDDB50E03}" dt="2022-04-06T01:25:30.953" v="569" actId="14100"/>
          <ac:spMkLst>
            <pc:docMk/>
            <pc:sldMk cId="658632293" sldId="2147375115"/>
            <ac:spMk id="21" creationId="{1F687BD2-832B-4C8E-BA1C-FF12DBF66F64}"/>
          </ac:spMkLst>
        </pc:spChg>
        <pc:spChg chg="add mod">
          <ac:chgData name="Rajat Taneja" userId="4ec436a0-470b-456a-af42-a15c99f1cebd" providerId="ADAL" clId="{3EA19806-CD64-4375-9EA7-939EDDB50E03}" dt="2022-04-06T01:25:30.953" v="569" actId="14100"/>
          <ac:spMkLst>
            <pc:docMk/>
            <pc:sldMk cId="658632293" sldId="2147375115"/>
            <ac:spMk id="22" creationId="{DE58537A-F2E1-4C49-88E8-EF07755013F1}"/>
          </ac:spMkLst>
        </pc:spChg>
        <pc:spChg chg="add mod">
          <ac:chgData name="Rajat Taneja" userId="4ec436a0-470b-456a-af42-a15c99f1cebd" providerId="ADAL" clId="{3EA19806-CD64-4375-9EA7-939EDDB50E03}" dt="2022-04-06T01:25:30.953" v="569" actId="14100"/>
          <ac:spMkLst>
            <pc:docMk/>
            <pc:sldMk cId="658632293" sldId="2147375115"/>
            <ac:spMk id="23" creationId="{E1ABB6B4-1A7B-430F-9150-BF59C4286C0A}"/>
          </ac:spMkLst>
        </pc:spChg>
        <pc:spChg chg="add mod">
          <ac:chgData name="Rajat Taneja" userId="4ec436a0-470b-456a-af42-a15c99f1cebd" providerId="ADAL" clId="{3EA19806-CD64-4375-9EA7-939EDDB50E03}" dt="2022-04-06T01:25:30.953" v="569" actId="14100"/>
          <ac:spMkLst>
            <pc:docMk/>
            <pc:sldMk cId="658632293" sldId="2147375115"/>
            <ac:spMk id="24" creationId="{D1100E74-EE0B-45B7-BD5D-C47A4829BE96}"/>
          </ac:spMkLst>
        </pc:spChg>
        <pc:spChg chg="add mod">
          <ac:chgData name="Rajat Taneja" userId="4ec436a0-470b-456a-af42-a15c99f1cebd" providerId="ADAL" clId="{3EA19806-CD64-4375-9EA7-939EDDB50E03}" dt="2022-04-06T01:25:30.953" v="569" actId="14100"/>
          <ac:spMkLst>
            <pc:docMk/>
            <pc:sldMk cId="658632293" sldId="2147375115"/>
            <ac:spMk id="25" creationId="{1F0483B1-9919-48C9-A71E-12A7C7206EAF}"/>
          </ac:spMkLst>
        </pc:spChg>
        <pc:spChg chg="add mod">
          <ac:chgData name="Rajat Taneja" userId="4ec436a0-470b-456a-af42-a15c99f1cebd" providerId="ADAL" clId="{3EA19806-CD64-4375-9EA7-939EDDB50E03}" dt="2022-04-06T01:25:30.953" v="569" actId="14100"/>
          <ac:spMkLst>
            <pc:docMk/>
            <pc:sldMk cId="658632293" sldId="2147375115"/>
            <ac:spMk id="26" creationId="{9878AE47-582E-4AAE-8CE1-0BB5FBAC072D}"/>
          </ac:spMkLst>
        </pc:spChg>
        <pc:spChg chg="add mod">
          <ac:chgData name="Rajat Taneja" userId="4ec436a0-470b-456a-af42-a15c99f1cebd" providerId="ADAL" clId="{3EA19806-CD64-4375-9EA7-939EDDB50E03}" dt="2022-04-06T01:25:30.953" v="569" actId="14100"/>
          <ac:spMkLst>
            <pc:docMk/>
            <pc:sldMk cId="658632293" sldId="2147375115"/>
            <ac:spMk id="27" creationId="{A6BBF15A-2583-4426-8D7D-A96FE7A543AE}"/>
          </ac:spMkLst>
        </pc:spChg>
        <pc:spChg chg="add mod">
          <ac:chgData name="Rajat Taneja" userId="4ec436a0-470b-456a-af42-a15c99f1cebd" providerId="ADAL" clId="{3EA19806-CD64-4375-9EA7-939EDDB50E03}" dt="2022-04-06T01:25:30.953" v="569" actId="14100"/>
          <ac:spMkLst>
            <pc:docMk/>
            <pc:sldMk cId="658632293" sldId="2147375115"/>
            <ac:spMk id="28" creationId="{99C9CBE4-EF3E-46AF-A857-A0E54A09F0D2}"/>
          </ac:spMkLst>
        </pc:spChg>
        <pc:spChg chg="add mod">
          <ac:chgData name="Rajat Taneja" userId="4ec436a0-470b-456a-af42-a15c99f1cebd" providerId="ADAL" clId="{3EA19806-CD64-4375-9EA7-939EDDB50E03}" dt="2022-04-06T01:25:30.953" v="569" actId="14100"/>
          <ac:spMkLst>
            <pc:docMk/>
            <pc:sldMk cId="658632293" sldId="2147375115"/>
            <ac:spMk id="29" creationId="{ABAE56DD-6FE7-4A3C-946A-7D7D015D2E75}"/>
          </ac:spMkLst>
        </pc:spChg>
        <pc:spChg chg="add mod">
          <ac:chgData name="Rajat Taneja" userId="4ec436a0-470b-456a-af42-a15c99f1cebd" providerId="ADAL" clId="{3EA19806-CD64-4375-9EA7-939EDDB50E03}" dt="2022-04-06T01:25:30.953" v="569" actId="14100"/>
          <ac:spMkLst>
            <pc:docMk/>
            <pc:sldMk cId="658632293" sldId="2147375115"/>
            <ac:spMk id="30" creationId="{D524643E-8E5E-47E7-B16F-1C8DAAE31B91}"/>
          </ac:spMkLst>
        </pc:spChg>
        <pc:spChg chg="add mod">
          <ac:chgData name="Rajat Taneja" userId="4ec436a0-470b-456a-af42-a15c99f1cebd" providerId="ADAL" clId="{3EA19806-CD64-4375-9EA7-939EDDB50E03}" dt="2022-04-06T01:25:30.953" v="569" actId="14100"/>
          <ac:spMkLst>
            <pc:docMk/>
            <pc:sldMk cId="658632293" sldId="2147375115"/>
            <ac:spMk id="31" creationId="{F59727F9-CFBF-442A-A8AA-3BF32113CE19}"/>
          </ac:spMkLst>
        </pc:spChg>
        <pc:spChg chg="add mod">
          <ac:chgData name="Rajat Taneja" userId="4ec436a0-470b-456a-af42-a15c99f1cebd" providerId="ADAL" clId="{3EA19806-CD64-4375-9EA7-939EDDB50E03}" dt="2022-04-06T01:25:30.953" v="569" actId="14100"/>
          <ac:spMkLst>
            <pc:docMk/>
            <pc:sldMk cId="658632293" sldId="2147375115"/>
            <ac:spMk id="32" creationId="{E5753225-3035-4A56-851A-ADDFE7B25A8D}"/>
          </ac:spMkLst>
        </pc:spChg>
        <pc:spChg chg="add mod">
          <ac:chgData name="Rajat Taneja" userId="4ec436a0-470b-456a-af42-a15c99f1cebd" providerId="ADAL" clId="{3EA19806-CD64-4375-9EA7-939EDDB50E03}" dt="2022-04-06T01:25:30.953" v="569" actId="14100"/>
          <ac:spMkLst>
            <pc:docMk/>
            <pc:sldMk cId="658632293" sldId="2147375115"/>
            <ac:spMk id="33" creationId="{4737257E-5166-4BC4-9639-EF6C5BEF5072}"/>
          </ac:spMkLst>
        </pc:spChg>
        <pc:spChg chg="add mod">
          <ac:chgData name="Rajat Taneja" userId="4ec436a0-470b-456a-af42-a15c99f1cebd" providerId="ADAL" clId="{3EA19806-CD64-4375-9EA7-939EDDB50E03}" dt="2022-04-06T01:25:30.953" v="569" actId="14100"/>
          <ac:spMkLst>
            <pc:docMk/>
            <pc:sldMk cId="658632293" sldId="2147375115"/>
            <ac:spMk id="34" creationId="{3BB85931-1210-4BDF-AD98-1B048C027164}"/>
          </ac:spMkLst>
        </pc:spChg>
        <pc:spChg chg="add mod">
          <ac:chgData name="Rajat Taneja" userId="4ec436a0-470b-456a-af42-a15c99f1cebd" providerId="ADAL" clId="{3EA19806-CD64-4375-9EA7-939EDDB50E03}" dt="2022-04-06T01:25:30.953" v="569" actId="14100"/>
          <ac:spMkLst>
            <pc:docMk/>
            <pc:sldMk cId="658632293" sldId="2147375115"/>
            <ac:spMk id="35" creationId="{EE69D7A4-DC98-474F-8331-C148D8CCDA67}"/>
          </ac:spMkLst>
        </pc:spChg>
        <pc:spChg chg="add mod">
          <ac:chgData name="Rajat Taneja" userId="4ec436a0-470b-456a-af42-a15c99f1cebd" providerId="ADAL" clId="{3EA19806-CD64-4375-9EA7-939EDDB50E03}" dt="2022-04-06T01:25:30.953" v="569" actId="14100"/>
          <ac:spMkLst>
            <pc:docMk/>
            <pc:sldMk cId="658632293" sldId="2147375115"/>
            <ac:spMk id="36" creationId="{5C33BA3E-BF9B-499B-B98D-FBE1F47F5C7B}"/>
          </ac:spMkLst>
        </pc:spChg>
        <pc:spChg chg="add mod">
          <ac:chgData name="Rajat Taneja" userId="4ec436a0-470b-456a-af42-a15c99f1cebd" providerId="ADAL" clId="{3EA19806-CD64-4375-9EA7-939EDDB50E03}" dt="2022-04-06T01:25:30.953" v="569" actId="14100"/>
          <ac:spMkLst>
            <pc:docMk/>
            <pc:sldMk cId="658632293" sldId="2147375115"/>
            <ac:spMk id="37" creationId="{812747C2-A77D-45C8-BA44-98458B672746}"/>
          </ac:spMkLst>
        </pc:spChg>
        <pc:spChg chg="add mod">
          <ac:chgData name="Rajat Taneja" userId="4ec436a0-470b-456a-af42-a15c99f1cebd" providerId="ADAL" clId="{3EA19806-CD64-4375-9EA7-939EDDB50E03}" dt="2022-04-06T01:25:30.953" v="569" actId="14100"/>
          <ac:spMkLst>
            <pc:docMk/>
            <pc:sldMk cId="658632293" sldId="2147375115"/>
            <ac:spMk id="38" creationId="{735E3F5B-BD4F-40CD-9B59-E89AB017FFCF}"/>
          </ac:spMkLst>
        </pc:spChg>
        <pc:spChg chg="add mod">
          <ac:chgData name="Rajat Taneja" userId="4ec436a0-470b-456a-af42-a15c99f1cebd" providerId="ADAL" clId="{3EA19806-CD64-4375-9EA7-939EDDB50E03}" dt="2022-04-06T01:25:30.953" v="569" actId="14100"/>
          <ac:spMkLst>
            <pc:docMk/>
            <pc:sldMk cId="658632293" sldId="2147375115"/>
            <ac:spMk id="39" creationId="{4E0E3719-F721-41F9-BAF3-B80C94586D63}"/>
          </ac:spMkLst>
        </pc:spChg>
        <pc:spChg chg="add mod">
          <ac:chgData name="Rajat Taneja" userId="4ec436a0-470b-456a-af42-a15c99f1cebd" providerId="ADAL" clId="{3EA19806-CD64-4375-9EA7-939EDDB50E03}" dt="2022-04-06T01:25:30.953" v="569" actId="14100"/>
          <ac:spMkLst>
            <pc:docMk/>
            <pc:sldMk cId="658632293" sldId="2147375115"/>
            <ac:spMk id="40" creationId="{F05EBB34-7BE3-48FA-9412-62E6E938525D}"/>
          </ac:spMkLst>
        </pc:spChg>
        <pc:spChg chg="add mod">
          <ac:chgData name="Rajat Taneja" userId="4ec436a0-470b-456a-af42-a15c99f1cebd" providerId="ADAL" clId="{3EA19806-CD64-4375-9EA7-939EDDB50E03}" dt="2022-04-06T01:25:30.953" v="569" actId="14100"/>
          <ac:spMkLst>
            <pc:docMk/>
            <pc:sldMk cId="658632293" sldId="2147375115"/>
            <ac:spMk id="41" creationId="{3BAD5B8E-1975-4EEC-83E7-3A29C5471CFA}"/>
          </ac:spMkLst>
        </pc:spChg>
        <pc:spChg chg="add mod">
          <ac:chgData name="Rajat Taneja" userId="4ec436a0-470b-456a-af42-a15c99f1cebd" providerId="ADAL" clId="{3EA19806-CD64-4375-9EA7-939EDDB50E03}" dt="2022-04-06T01:25:30.953" v="569" actId="14100"/>
          <ac:spMkLst>
            <pc:docMk/>
            <pc:sldMk cId="658632293" sldId="2147375115"/>
            <ac:spMk id="42" creationId="{57E6BED8-B4B9-473A-82B4-7735E0104DE5}"/>
          </ac:spMkLst>
        </pc:spChg>
        <pc:spChg chg="add mod">
          <ac:chgData name="Rajat Taneja" userId="4ec436a0-470b-456a-af42-a15c99f1cebd" providerId="ADAL" clId="{3EA19806-CD64-4375-9EA7-939EDDB50E03}" dt="2022-04-06T01:25:30.953" v="569" actId="14100"/>
          <ac:spMkLst>
            <pc:docMk/>
            <pc:sldMk cId="658632293" sldId="2147375115"/>
            <ac:spMk id="43" creationId="{EB82021A-2934-46B9-8989-016505BBF38F}"/>
          </ac:spMkLst>
        </pc:spChg>
        <pc:spChg chg="add mod">
          <ac:chgData name="Rajat Taneja" userId="4ec436a0-470b-456a-af42-a15c99f1cebd" providerId="ADAL" clId="{3EA19806-CD64-4375-9EA7-939EDDB50E03}" dt="2022-04-06T01:25:30.953" v="569" actId="14100"/>
          <ac:spMkLst>
            <pc:docMk/>
            <pc:sldMk cId="658632293" sldId="2147375115"/>
            <ac:spMk id="44" creationId="{E02F3672-898E-4792-972A-F194C2750CC6}"/>
          </ac:spMkLst>
        </pc:spChg>
        <pc:spChg chg="add mod">
          <ac:chgData name="Rajat Taneja" userId="4ec436a0-470b-456a-af42-a15c99f1cebd" providerId="ADAL" clId="{3EA19806-CD64-4375-9EA7-939EDDB50E03}" dt="2022-04-06T01:25:30.953" v="569" actId="14100"/>
          <ac:spMkLst>
            <pc:docMk/>
            <pc:sldMk cId="658632293" sldId="2147375115"/>
            <ac:spMk id="45" creationId="{3D06AECC-FB60-46F7-AF80-DE9573B4187B}"/>
          </ac:spMkLst>
        </pc:spChg>
        <pc:spChg chg="add mod">
          <ac:chgData name="Rajat Taneja" userId="4ec436a0-470b-456a-af42-a15c99f1cebd" providerId="ADAL" clId="{3EA19806-CD64-4375-9EA7-939EDDB50E03}" dt="2022-04-06T01:25:30.953" v="569" actId="14100"/>
          <ac:spMkLst>
            <pc:docMk/>
            <pc:sldMk cId="658632293" sldId="2147375115"/>
            <ac:spMk id="46" creationId="{6540436F-770D-4158-A398-96D71D67DE7B}"/>
          </ac:spMkLst>
        </pc:spChg>
        <pc:spChg chg="add mod">
          <ac:chgData name="Rajat Taneja" userId="4ec436a0-470b-456a-af42-a15c99f1cebd" providerId="ADAL" clId="{3EA19806-CD64-4375-9EA7-939EDDB50E03}" dt="2022-04-06T01:25:30.953" v="569" actId="14100"/>
          <ac:spMkLst>
            <pc:docMk/>
            <pc:sldMk cId="658632293" sldId="2147375115"/>
            <ac:spMk id="47" creationId="{9E93162D-6674-4E8C-AB37-8AB4E3A81FDC}"/>
          </ac:spMkLst>
        </pc:spChg>
        <pc:spChg chg="add mod">
          <ac:chgData name="Rajat Taneja" userId="4ec436a0-470b-456a-af42-a15c99f1cebd" providerId="ADAL" clId="{3EA19806-CD64-4375-9EA7-939EDDB50E03}" dt="2022-04-06T01:25:30.953" v="569" actId="14100"/>
          <ac:spMkLst>
            <pc:docMk/>
            <pc:sldMk cId="658632293" sldId="2147375115"/>
            <ac:spMk id="48" creationId="{88C4D037-16E6-408A-939D-5769E56635BF}"/>
          </ac:spMkLst>
        </pc:spChg>
        <pc:spChg chg="add mod">
          <ac:chgData name="Rajat Taneja" userId="4ec436a0-470b-456a-af42-a15c99f1cebd" providerId="ADAL" clId="{3EA19806-CD64-4375-9EA7-939EDDB50E03}" dt="2022-04-06T01:25:30.953" v="569" actId="14100"/>
          <ac:spMkLst>
            <pc:docMk/>
            <pc:sldMk cId="658632293" sldId="2147375115"/>
            <ac:spMk id="49" creationId="{25FFD3E4-9728-46AE-8E11-2F37AC74BF11}"/>
          </ac:spMkLst>
        </pc:spChg>
        <pc:spChg chg="add mod">
          <ac:chgData name="Rajat Taneja" userId="4ec436a0-470b-456a-af42-a15c99f1cebd" providerId="ADAL" clId="{3EA19806-CD64-4375-9EA7-939EDDB50E03}" dt="2022-04-06T01:25:30.953" v="569" actId="14100"/>
          <ac:spMkLst>
            <pc:docMk/>
            <pc:sldMk cId="658632293" sldId="2147375115"/>
            <ac:spMk id="50" creationId="{4D219AC0-B016-442D-91B6-45D44EB84762}"/>
          </ac:spMkLst>
        </pc:spChg>
        <pc:spChg chg="add mod">
          <ac:chgData name="Rajat Taneja" userId="4ec436a0-470b-456a-af42-a15c99f1cebd" providerId="ADAL" clId="{3EA19806-CD64-4375-9EA7-939EDDB50E03}" dt="2022-04-06T01:25:30.953" v="569" actId="14100"/>
          <ac:spMkLst>
            <pc:docMk/>
            <pc:sldMk cId="658632293" sldId="2147375115"/>
            <ac:spMk id="51" creationId="{37B64F1F-0724-49D1-8030-E79CF9C4142E}"/>
          </ac:spMkLst>
        </pc:spChg>
        <pc:spChg chg="add mod">
          <ac:chgData name="Rajat Taneja" userId="4ec436a0-470b-456a-af42-a15c99f1cebd" providerId="ADAL" clId="{3EA19806-CD64-4375-9EA7-939EDDB50E03}" dt="2022-04-06T01:25:30.953" v="569" actId="14100"/>
          <ac:spMkLst>
            <pc:docMk/>
            <pc:sldMk cId="658632293" sldId="2147375115"/>
            <ac:spMk id="52" creationId="{3CBF8ACE-BEEE-4BBE-865F-19EF1A271567}"/>
          </ac:spMkLst>
        </pc:spChg>
        <pc:spChg chg="add mod">
          <ac:chgData name="Rajat Taneja" userId="4ec436a0-470b-456a-af42-a15c99f1cebd" providerId="ADAL" clId="{3EA19806-CD64-4375-9EA7-939EDDB50E03}" dt="2022-04-06T01:25:30.953" v="569" actId="14100"/>
          <ac:spMkLst>
            <pc:docMk/>
            <pc:sldMk cId="658632293" sldId="2147375115"/>
            <ac:spMk id="53" creationId="{7C8233C8-D03C-41A8-A332-C5A6FF28EEC1}"/>
          </ac:spMkLst>
        </pc:spChg>
        <pc:spChg chg="add mod">
          <ac:chgData name="Rajat Taneja" userId="4ec436a0-470b-456a-af42-a15c99f1cebd" providerId="ADAL" clId="{3EA19806-CD64-4375-9EA7-939EDDB50E03}" dt="2022-04-06T01:25:30.953" v="569" actId="14100"/>
          <ac:spMkLst>
            <pc:docMk/>
            <pc:sldMk cId="658632293" sldId="2147375115"/>
            <ac:spMk id="54" creationId="{CC77FFB6-E8D9-4CE0-9BFB-E2054904A780}"/>
          </ac:spMkLst>
        </pc:spChg>
        <pc:spChg chg="add mod">
          <ac:chgData name="Rajat Taneja" userId="4ec436a0-470b-456a-af42-a15c99f1cebd" providerId="ADAL" clId="{3EA19806-CD64-4375-9EA7-939EDDB50E03}" dt="2022-04-06T01:25:30.953" v="569" actId="14100"/>
          <ac:spMkLst>
            <pc:docMk/>
            <pc:sldMk cId="658632293" sldId="2147375115"/>
            <ac:spMk id="55" creationId="{A68BF3A6-885A-4F7A-A11B-399F1B4ABD21}"/>
          </ac:spMkLst>
        </pc:spChg>
        <pc:spChg chg="add mod">
          <ac:chgData name="Rajat Taneja" userId="4ec436a0-470b-456a-af42-a15c99f1cebd" providerId="ADAL" clId="{3EA19806-CD64-4375-9EA7-939EDDB50E03}" dt="2022-04-06T01:25:30.953" v="569" actId="14100"/>
          <ac:spMkLst>
            <pc:docMk/>
            <pc:sldMk cId="658632293" sldId="2147375115"/>
            <ac:spMk id="56" creationId="{2C5F4B6E-4A3B-43A3-83D2-E5A5CD2E0AEB}"/>
          </ac:spMkLst>
        </pc:spChg>
        <pc:spChg chg="add mod">
          <ac:chgData name="Rajat Taneja" userId="4ec436a0-470b-456a-af42-a15c99f1cebd" providerId="ADAL" clId="{3EA19806-CD64-4375-9EA7-939EDDB50E03}" dt="2022-04-06T01:25:30.953" v="569" actId="14100"/>
          <ac:spMkLst>
            <pc:docMk/>
            <pc:sldMk cId="658632293" sldId="2147375115"/>
            <ac:spMk id="57" creationId="{8C2A3C4F-92BA-42D5-A119-6FA32677B31D}"/>
          </ac:spMkLst>
        </pc:spChg>
        <pc:spChg chg="add mod">
          <ac:chgData name="Rajat Taneja" userId="4ec436a0-470b-456a-af42-a15c99f1cebd" providerId="ADAL" clId="{3EA19806-CD64-4375-9EA7-939EDDB50E03}" dt="2022-04-06T01:25:30.953" v="569" actId="14100"/>
          <ac:spMkLst>
            <pc:docMk/>
            <pc:sldMk cId="658632293" sldId="2147375115"/>
            <ac:spMk id="58" creationId="{B37E1340-3CE5-48AB-90D5-5454D9BA75EF}"/>
          </ac:spMkLst>
        </pc:spChg>
        <pc:spChg chg="add mod">
          <ac:chgData name="Rajat Taneja" userId="4ec436a0-470b-456a-af42-a15c99f1cebd" providerId="ADAL" clId="{3EA19806-CD64-4375-9EA7-939EDDB50E03}" dt="2022-04-06T01:25:30.953" v="569" actId="14100"/>
          <ac:spMkLst>
            <pc:docMk/>
            <pc:sldMk cId="658632293" sldId="2147375115"/>
            <ac:spMk id="59" creationId="{5200420A-9560-447E-9012-C449D184EFAB}"/>
          </ac:spMkLst>
        </pc:spChg>
        <pc:spChg chg="add mod">
          <ac:chgData name="Rajat Taneja" userId="4ec436a0-470b-456a-af42-a15c99f1cebd" providerId="ADAL" clId="{3EA19806-CD64-4375-9EA7-939EDDB50E03}" dt="2022-04-06T01:25:30.953" v="569" actId="14100"/>
          <ac:spMkLst>
            <pc:docMk/>
            <pc:sldMk cId="658632293" sldId="2147375115"/>
            <ac:spMk id="60" creationId="{E4D22E1F-DE57-405A-AF45-1782CF4078A4}"/>
          </ac:spMkLst>
        </pc:spChg>
        <pc:spChg chg="add mod">
          <ac:chgData name="Rajat Taneja" userId="4ec436a0-470b-456a-af42-a15c99f1cebd" providerId="ADAL" clId="{3EA19806-CD64-4375-9EA7-939EDDB50E03}" dt="2022-04-06T01:25:30.953" v="569" actId="14100"/>
          <ac:spMkLst>
            <pc:docMk/>
            <pc:sldMk cId="658632293" sldId="2147375115"/>
            <ac:spMk id="61" creationId="{85AABBD1-A03D-4659-A7B6-952CA3878AA3}"/>
          </ac:spMkLst>
        </pc:spChg>
        <pc:spChg chg="add mod">
          <ac:chgData name="Rajat Taneja" userId="4ec436a0-470b-456a-af42-a15c99f1cebd" providerId="ADAL" clId="{3EA19806-CD64-4375-9EA7-939EDDB50E03}" dt="2022-04-06T01:25:30.953" v="569" actId="14100"/>
          <ac:spMkLst>
            <pc:docMk/>
            <pc:sldMk cId="658632293" sldId="2147375115"/>
            <ac:spMk id="62" creationId="{910C8FCD-D956-4334-9117-477DD051DE02}"/>
          </ac:spMkLst>
        </pc:spChg>
        <pc:spChg chg="add mod">
          <ac:chgData name="Rajat Taneja" userId="4ec436a0-470b-456a-af42-a15c99f1cebd" providerId="ADAL" clId="{3EA19806-CD64-4375-9EA7-939EDDB50E03}" dt="2022-04-06T01:25:30.953" v="569" actId="14100"/>
          <ac:spMkLst>
            <pc:docMk/>
            <pc:sldMk cId="658632293" sldId="2147375115"/>
            <ac:spMk id="63" creationId="{E74C9113-9BDD-4B70-9531-D6C326ED50E6}"/>
          </ac:spMkLst>
        </pc:spChg>
        <pc:spChg chg="add mod">
          <ac:chgData name="Rajat Taneja" userId="4ec436a0-470b-456a-af42-a15c99f1cebd" providerId="ADAL" clId="{3EA19806-CD64-4375-9EA7-939EDDB50E03}" dt="2022-04-06T01:25:30.953" v="569" actId="14100"/>
          <ac:spMkLst>
            <pc:docMk/>
            <pc:sldMk cId="658632293" sldId="2147375115"/>
            <ac:spMk id="64" creationId="{06081F6A-940F-44DF-94DE-D467E22ADDF8}"/>
          </ac:spMkLst>
        </pc:spChg>
        <pc:spChg chg="add mod">
          <ac:chgData name="Rajat Taneja" userId="4ec436a0-470b-456a-af42-a15c99f1cebd" providerId="ADAL" clId="{3EA19806-CD64-4375-9EA7-939EDDB50E03}" dt="2022-04-06T01:25:30.953" v="569" actId="14100"/>
          <ac:spMkLst>
            <pc:docMk/>
            <pc:sldMk cId="658632293" sldId="2147375115"/>
            <ac:spMk id="65" creationId="{6A42A079-EBC5-4E01-A1CD-03107FFC5AF8}"/>
          </ac:spMkLst>
        </pc:spChg>
        <pc:spChg chg="add mod">
          <ac:chgData name="Rajat Taneja" userId="4ec436a0-470b-456a-af42-a15c99f1cebd" providerId="ADAL" clId="{3EA19806-CD64-4375-9EA7-939EDDB50E03}" dt="2022-04-06T01:25:30.953" v="569" actId="14100"/>
          <ac:spMkLst>
            <pc:docMk/>
            <pc:sldMk cId="658632293" sldId="2147375115"/>
            <ac:spMk id="66" creationId="{C9F5B41C-0349-4327-AD62-ACAB4390504B}"/>
          </ac:spMkLst>
        </pc:spChg>
        <pc:spChg chg="add mod">
          <ac:chgData name="Rajat Taneja" userId="4ec436a0-470b-456a-af42-a15c99f1cebd" providerId="ADAL" clId="{3EA19806-CD64-4375-9EA7-939EDDB50E03}" dt="2022-04-06T01:25:30.953" v="569" actId="14100"/>
          <ac:spMkLst>
            <pc:docMk/>
            <pc:sldMk cId="658632293" sldId="2147375115"/>
            <ac:spMk id="67" creationId="{7469B5E6-1D59-4C7F-9745-4C64992E14A3}"/>
          </ac:spMkLst>
        </pc:spChg>
        <pc:spChg chg="add mod">
          <ac:chgData name="Rajat Taneja" userId="4ec436a0-470b-456a-af42-a15c99f1cebd" providerId="ADAL" clId="{3EA19806-CD64-4375-9EA7-939EDDB50E03}" dt="2022-04-06T01:25:30.953" v="569" actId="14100"/>
          <ac:spMkLst>
            <pc:docMk/>
            <pc:sldMk cId="658632293" sldId="2147375115"/>
            <ac:spMk id="68" creationId="{46507275-0CBF-4A35-B67F-D0793EB124A8}"/>
          </ac:spMkLst>
        </pc:spChg>
        <pc:spChg chg="add mod">
          <ac:chgData name="Rajat Taneja" userId="4ec436a0-470b-456a-af42-a15c99f1cebd" providerId="ADAL" clId="{3EA19806-CD64-4375-9EA7-939EDDB50E03}" dt="2022-04-06T01:25:30.953" v="569" actId="14100"/>
          <ac:spMkLst>
            <pc:docMk/>
            <pc:sldMk cId="658632293" sldId="2147375115"/>
            <ac:spMk id="69" creationId="{0CBD2330-BC4D-42E3-8E1F-2789E77A7865}"/>
          </ac:spMkLst>
        </pc:spChg>
        <pc:spChg chg="add mod">
          <ac:chgData name="Rajat Taneja" userId="4ec436a0-470b-456a-af42-a15c99f1cebd" providerId="ADAL" clId="{3EA19806-CD64-4375-9EA7-939EDDB50E03}" dt="2022-04-06T01:25:30.953" v="569" actId="14100"/>
          <ac:spMkLst>
            <pc:docMk/>
            <pc:sldMk cId="658632293" sldId="2147375115"/>
            <ac:spMk id="70" creationId="{B7AF69C9-CB5F-4324-A583-75BB913E7A44}"/>
          </ac:spMkLst>
        </pc:spChg>
        <pc:spChg chg="add mod">
          <ac:chgData name="Rajat Taneja" userId="4ec436a0-470b-456a-af42-a15c99f1cebd" providerId="ADAL" clId="{3EA19806-CD64-4375-9EA7-939EDDB50E03}" dt="2022-04-06T01:25:30.953" v="569" actId="14100"/>
          <ac:spMkLst>
            <pc:docMk/>
            <pc:sldMk cId="658632293" sldId="2147375115"/>
            <ac:spMk id="71" creationId="{39B8F2D7-F54D-4FCF-AAD2-95C5ACCDAC62}"/>
          </ac:spMkLst>
        </pc:spChg>
        <pc:spChg chg="add mod">
          <ac:chgData name="Rajat Taneja" userId="4ec436a0-470b-456a-af42-a15c99f1cebd" providerId="ADAL" clId="{3EA19806-CD64-4375-9EA7-939EDDB50E03}" dt="2022-04-06T01:25:30.953" v="569" actId="14100"/>
          <ac:spMkLst>
            <pc:docMk/>
            <pc:sldMk cId="658632293" sldId="2147375115"/>
            <ac:spMk id="72" creationId="{DEE958E1-EC44-4628-9ED1-75A3E0EF0A77}"/>
          </ac:spMkLst>
        </pc:spChg>
        <pc:spChg chg="add mod">
          <ac:chgData name="Rajat Taneja" userId="4ec436a0-470b-456a-af42-a15c99f1cebd" providerId="ADAL" clId="{3EA19806-CD64-4375-9EA7-939EDDB50E03}" dt="2022-04-06T01:25:30.953" v="569" actId="14100"/>
          <ac:spMkLst>
            <pc:docMk/>
            <pc:sldMk cId="658632293" sldId="2147375115"/>
            <ac:spMk id="73" creationId="{9E1A13C5-900F-40A5-A734-7554C57F189A}"/>
          </ac:spMkLst>
        </pc:spChg>
        <pc:spChg chg="add mod">
          <ac:chgData name="Rajat Taneja" userId="4ec436a0-470b-456a-af42-a15c99f1cebd" providerId="ADAL" clId="{3EA19806-CD64-4375-9EA7-939EDDB50E03}" dt="2022-04-06T01:25:30.953" v="569" actId="14100"/>
          <ac:spMkLst>
            <pc:docMk/>
            <pc:sldMk cId="658632293" sldId="2147375115"/>
            <ac:spMk id="74" creationId="{FE14D90B-D2AE-45D8-ACAA-0D7F87EAE661}"/>
          </ac:spMkLst>
        </pc:spChg>
        <pc:spChg chg="add mod">
          <ac:chgData name="Rajat Taneja" userId="4ec436a0-470b-456a-af42-a15c99f1cebd" providerId="ADAL" clId="{3EA19806-CD64-4375-9EA7-939EDDB50E03}" dt="2022-04-06T01:25:30.953" v="569" actId="14100"/>
          <ac:spMkLst>
            <pc:docMk/>
            <pc:sldMk cId="658632293" sldId="2147375115"/>
            <ac:spMk id="75" creationId="{358322BD-28F5-4137-B391-E53F04C698F6}"/>
          </ac:spMkLst>
        </pc:spChg>
        <pc:spChg chg="add mod">
          <ac:chgData name="Rajat Taneja" userId="4ec436a0-470b-456a-af42-a15c99f1cebd" providerId="ADAL" clId="{3EA19806-CD64-4375-9EA7-939EDDB50E03}" dt="2022-04-06T01:25:30.953" v="569" actId="14100"/>
          <ac:spMkLst>
            <pc:docMk/>
            <pc:sldMk cId="658632293" sldId="2147375115"/>
            <ac:spMk id="76" creationId="{CC84225E-59CE-4E8B-A247-FDE0D505D714}"/>
          </ac:spMkLst>
        </pc:spChg>
        <pc:spChg chg="add mod">
          <ac:chgData name="Rajat Taneja" userId="4ec436a0-470b-456a-af42-a15c99f1cebd" providerId="ADAL" clId="{3EA19806-CD64-4375-9EA7-939EDDB50E03}" dt="2022-04-06T01:25:30.953" v="569" actId="14100"/>
          <ac:spMkLst>
            <pc:docMk/>
            <pc:sldMk cId="658632293" sldId="2147375115"/>
            <ac:spMk id="77" creationId="{70DDDA64-3DA5-46EB-BA99-15F070943687}"/>
          </ac:spMkLst>
        </pc:spChg>
        <pc:spChg chg="add mod">
          <ac:chgData name="Rajat Taneja" userId="4ec436a0-470b-456a-af42-a15c99f1cebd" providerId="ADAL" clId="{3EA19806-CD64-4375-9EA7-939EDDB50E03}" dt="2022-04-06T01:25:30.953" v="569" actId="14100"/>
          <ac:spMkLst>
            <pc:docMk/>
            <pc:sldMk cId="658632293" sldId="2147375115"/>
            <ac:spMk id="78" creationId="{3A943C70-7870-494B-8079-D3E026267D72}"/>
          </ac:spMkLst>
        </pc:spChg>
        <pc:spChg chg="add mod">
          <ac:chgData name="Rajat Taneja" userId="4ec436a0-470b-456a-af42-a15c99f1cebd" providerId="ADAL" clId="{3EA19806-CD64-4375-9EA7-939EDDB50E03}" dt="2022-04-06T01:25:30.953" v="569" actId="14100"/>
          <ac:spMkLst>
            <pc:docMk/>
            <pc:sldMk cId="658632293" sldId="2147375115"/>
            <ac:spMk id="79" creationId="{70AB5165-243F-4452-BDD3-2FE113ACE349}"/>
          </ac:spMkLst>
        </pc:spChg>
        <pc:spChg chg="add mod">
          <ac:chgData name="Rajat Taneja" userId="4ec436a0-470b-456a-af42-a15c99f1cebd" providerId="ADAL" clId="{3EA19806-CD64-4375-9EA7-939EDDB50E03}" dt="2022-04-06T01:25:30.953" v="569" actId="14100"/>
          <ac:spMkLst>
            <pc:docMk/>
            <pc:sldMk cId="658632293" sldId="2147375115"/>
            <ac:spMk id="80" creationId="{0D1367D3-CBAB-41F6-8687-B33F02EEB5CA}"/>
          </ac:spMkLst>
        </pc:spChg>
        <pc:spChg chg="add mod">
          <ac:chgData name="Rajat Taneja" userId="4ec436a0-470b-456a-af42-a15c99f1cebd" providerId="ADAL" clId="{3EA19806-CD64-4375-9EA7-939EDDB50E03}" dt="2022-04-06T01:25:30.953" v="569" actId="14100"/>
          <ac:spMkLst>
            <pc:docMk/>
            <pc:sldMk cId="658632293" sldId="2147375115"/>
            <ac:spMk id="81" creationId="{1B82FA93-615C-4879-86E2-3C229A71CBF1}"/>
          </ac:spMkLst>
        </pc:spChg>
        <pc:spChg chg="add mod">
          <ac:chgData name="Rajat Taneja" userId="4ec436a0-470b-456a-af42-a15c99f1cebd" providerId="ADAL" clId="{3EA19806-CD64-4375-9EA7-939EDDB50E03}" dt="2022-04-06T01:25:30.953" v="569" actId="14100"/>
          <ac:spMkLst>
            <pc:docMk/>
            <pc:sldMk cId="658632293" sldId="2147375115"/>
            <ac:spMk id="82" creationId="{B066B31F-8F8D-4A2A-834C-A132B0556DE6}"/>
          </ac:spMkLst>
        </pc:spChg>
        <pc:spChg chg="add mod">
          <ac:chgData name="Rajat Taneja" userId="4ec436a0-470b-456a-af42-a15c99f1cebd" providerId="ADAL" clId="{3EA19806-CD64-4375-9EA7-939EDDB50E03}" dt="2022-04-06T01:25:30.953" v="569" actId="14100"/>
          <ac:spMkLst>
            <pc:docMk/>
            <pc:sldMk cId="658632293" sldId="2147375115"/>
            <ac:spMk id="83" creationId="{714366A8-4F50-445E-8F70-4B41D7E8DCAF}"/>
          </ac:spMkLst>
        </pc:spChg>
        <pc:spChg chg="add mod">
          <ac:chgData name="Rajat Taneja" userId="4ec436a0-470b-456a-af42-a15c99f1cebd" providerId="ADAL" clId="{3EA19806-CD64-4375-9EA7-939EDDB50E03}" dt="2022-04-06T01:25:30.953" v="569" actId="14100"/>
          <ac:spMkLst>
            <pc:docMk/>
            <pc:sldMk cId="658632293" sldId="2147375115"/>
            <ac:spMk id="84" creationId="{5EC7933D-117D-43D3-9EB7-AE1CB044EF21}"/>
          </ac:spMkLst>
        </pc:spChg>
        <pc:spChg chg="add mod">
          <ac:chgData name="Rajat Taneja" userId="4ec436a0-470b-456a-af42-a15c99f1cebd" providerId="ADAL" clId="{3EA19806-CD64-4375-9EA7-939EDDB50E03}" dt="2022-04-06T01:25:30.953" v="569" actId="14100"/>
          <ac:spMkLst>
            <pc:docMk/>
            <pc:sldMk cId="658632293" sldId="2147375115"/>
            <ac:spMk id="85" creationId="{5C8C9841-F09D-4968-B92D-357B787D1936}"/>
          </ac:spMkLst>
        </pc:spChg>
        <pc:spChg chg="add mod">
          <ac:chgData name="Rajat Taneja" userId="4ec436a0-470b-456a-af42-a15c99f1cebd" providerId="ADAL" clId="{3EA19806-CD64-4375-9EA7-939EDDB50E03}" dt="2022-04-06T01:25:30.953" v="569" actId="14100"/>
          <ac:spMkLst>
            <pc:docMk/>
            <pc:sldMk cId="658632293" sldId="2147375115"/>
            <ac:spMk id="86" creationId="{EE7A06F3-B38A-4439-A5B3-B63F2CAB6B6D}"/>
          </ac:spMkLst>
        </pc:spChg>
        <pc:spChg chg="add mod">
          <ac:chgData name="Rajat Taneja" userId="4ec436a0-470b-456a-af42-a15c99f1cebd" providerId="ADAL" clId="{3EA19806-CD64-4375-9EA7-939EDDB50E03}" dt="2022-04-06T01:25:30.953" v="569" actId="14100"/>
          <ac:spMkLst>
            <pc:docMk/>
            <pc:sldMk cId="658632293" sldId="2147375115"/>
            <ac:spMk id="87" creationId="{CD2845C6-066B-43DE-A92D-1BF2225B4356}"/>
          </ac:spMkLst>
        </pc:spChg>
        <pc:spChg chg="add mod">
          <ac:chgData name="Rajat Taneja" userId="4ec436a0-470b-456a-af42-a15c99f1cebd" providerId="ADAL" clId="{3EA19806-CD64-4375-9EA7-939EDDB50E03}" dt="2022-04-06T01:25:30.953" v="569" actId="14100"/>
          <ac:spMkLst>
            <pc:docMk/>
            <pc:sldMk cId="658632293" sldId="2147375115"/>
            <ac:spMk id="88" creationId="{91702D54-BEBF-47AB-973C-BC82F9AFDD49}"/>
          </ac:spMkLst>
        </pc:spChg>
        <pc:spChg chg="add mod">
          <ac:chgData name="Rajat Taneja" userId="4ec436a0-470b-456a-af42-a15c99f1cebd" providerId="ADAL" clId="{3EA19806-CD64-4375-9EA7-939EDDB50E03}" dt="2022-04-06T01:25:30.953" v="569" actId="14100"/>
          <ac:spMkLst>
            <pc:docMk/>
            <pc:sldMk cId="658632293" sldId="2147375115"/>
            <ac:spMk id="89" creationId="{F1F13953-54F4-4542-BF2E-808020BCC5B9}"/>
          </ac:spMkLst>
        </pc:spChg>
        <pc:spChg chg="add mod">
          <ac:chgData name="Rajat Taneja" userId="4ec436a0-470b-456a-af42-a15c99f1cebd" providerId="ADAL" clId="{3EA19806-CD64-4375-9EA7-939EDDB50E03}" dt="2022-04-06T01:25:30.953" v="569" actId="14100"/>
          <ac:spMkLst>
            <pc:docMk/>
            <pc:sldMk cId="658632293" sldId="2147375115"/>
            <ac:spMk id="90" creationId="{DB800E91-9ED7-4F4E-8FEA-82EE1C023D7E}"/>
          </ac:spMkLst>
        </pc:spChg>
        <pc:spChg chg="add mod">
          <ac:chgData name="Rajat Taneja" userId="4ec436a0-470b-456a-af42-a15c99f1cebd" providerId="ADAL" clId="{3EA19806-CD64-4375-9EA7-939EDDB50E03}" dt="2022-04-06T01:25:30.953" v="569" actId="14100"/>
          <ac:spMkLst>
            <pc:docMk/>
            <pc:sldMk cId="658632293" sldId="2147375115"/>
            <ac:spMk id="91" creationId="{F21F33A3-73A6-4EDA-AF55-21AD55006771}"/>
          </ac:spMkLst>
        </pc:spChg>
        <pc:spChg chg="add mod">
          <ac:chgData name="Rajat Taneja" userId="4ec436a0-470b-456a-af42-a15c99f1cebd" providerId="ADAL" clId="{3EA19806-CD64-4375-9EA7-939EDDB50E03}" dt="2022-04-06T01:25:30.953" v="569" actId="14100"/>
          <ac:spMkLst>
            <pc:docMk/>
            <pc:sldMk cId="658632293" sldId="2147375115"/>
            <ac:spMk id="92" creationId="{D764316F-6FEC-4F3C-B3C9-18549A7D95D3}"/>
          </ac:spMkLst>
        </pc:spChg>
        <pc:spChg chg="add mod">
          <ac:chgData name="Rajat Taneja" userId="4ec436a0-470b-456a-af42-a15c99f1cebd" providerId="ADAL" clId="{3EA19806-CD64-4375-9EA7-939EDDB50E03}" dt="2022-04-06T01:25:30.953" v="569" actId="14100"/>
          <ac:spMkLst>
            <pc:docMk/>
            <pc:sldMk cId="658632293" sldId="2147375115"/>
            <ac:spMk id="93" creationId="{0F28D7B5-A438-42D2-8F89-7C9E1FD5220E}"/>
          </ac:spMkLst>
        </pc:spChg>
        <pc:spChg chg="add mod">
          <ac:chgData name="Rajat Taneja" userId="4ec436a0-470b-456a-af42-a15c99f1cebd" providerId="ADAL" clId="{3EA19806-CD64-4375-9EA7-939EDDB50E03}" dt="2022-04-06T01:25:30.953" v="569" actId="14100"/>
          <ac:spMkLst>
            <pc:docMk/>
            <pc:sldMk cId="658632293" sldId="2147375115"/>
            <ac:spMk id="94" creationId="{4A5EB5DE-BF09-440A-A8D9-51B5D468428C}"/>
          </ac:spMkLst>
        </pc:spChg>
        <pc:spChg chg="add mod">
          <ac:chgData name="Rajat Taneja" userId="4ec436a0-470b-456a-af42-a15c99f1cebd" providerId="ADAL" clId="{3EA19806-CD64-4375-9EA7-939EDDB50E03}" dt="2022-04-06T01:25:30.953" v="569" actId="14100"/>
          <ac:spMkLst>
            <pc:docMk/>
            <pc:sldMk cId="658632293" sldId="2147375115"/>
            <ac:spMk id="95" creationId="{CBA58A28-4871-4CF4-A364-BEE7F60FC5AF}"/>
          </ac:spMkLst>
        </pc:spChg>
        <pc:spChg chg="add mod">
          <ac:chgData name="Rajat Taneja" userId="4ec436a0-470b-456a-af42-a15c99f1cebd" providerId="ADAL" clId="{3EA19806-CD64-4375-9EA7-939EDDB50E03}" dt="2022-04-06T01:25:30.953" v="569" actId="14100"/>
          <ac:spMkLst>
            <pc:docMk/>
            <pc:sldMk cId="658632293" sldId="2147375115"/>
            <ac:spMk id="96" creationId="{3D8BFCAD-E894-49A8-8CA1-4E81DB120C0C}"/>
          </ac:spMkLst>
        </pc:spChg>
        <pc:spChg chg="add mod">
          <ac:chgData name="Rajat Taneja" userId="4ec436a0-470b-456a-af42-a15c99f1cebd" providerId="ADAL" clId="{3EA19806-CD64-4375-9EA7-939EDDB50E03}" dt="2022-04-06T01:25:30.953" v="569" actId="14100"/>
          <ac:spMkLst>
            <pc:docMk/>
            <pc:sldMk cId="658632293" sldId="2147375115"/>
            <ac:spMk id="97" creationId="{7A3076C3-25CE-4FA3-9AF2-9E58640B2F7B}"/>
          </ac:spMkLst>
        </pc:spChg>
        <pc:spChg chg="add mod">
          <ac:chgData name="Rajat Taneja" userId="4ec436a0-470b-456a-af42-a15c99f1cebd" providerId="ADAL" clId="{3EA19806-CD64-4375-9EA7-939EDDB50E03}" dt="2022-04-06T01:25:30.953" v="569" actId="14100"/>
          <ac:spMkLst>
            <pc:docMk/>
            <pc:sldMk cId="658632293" sldId="2147375115"/>
            <ac:spMk id="98" creationId="{BEE1A0A1-3A92-43F5-8643-9F944F0ED19A}"/>
          </ac:spMkLst>
        </pc:spChg>
        <pc:spChg chg="add mod">
          <ac:chgData name="Rajat Taneja" userId="4ec436a0-470b-456a-af42-a15c99f1cebd" providerId="ADAL" clId="{3EA19806-CD64-4375-9EA7-939EDDB50E03}" dt="2022-04-06T01:25:30.953" v="569" actId="14100"/>
          <ac:spMkLst>
            <pc:docMk/>
            <pc:sldMk cId="658632293" sldId="2147375115"/>
            <ac:spMk id="99" creationId="{ABB37A9B-55C2-49A4-93D1-3A3E7A44B581}"/>
          </ac:spMkLst>
        </pc:spChg>
        <pc:spChg chg="add mod">
          <ac:chgData name="Rajat Taneja" userId="4ec436a0-470b-456a-af42-a15c99f1cebd" providerId="ADAL" clId="{3EA19806-CD64-4375-9EA7-939EDDB50E03}" dt="2022-04-06T01:25:30.953" v="569" actId="14100"/>
          <ac:spMkLst>
            <pc:docMk/>
            <pc:sldMk cId="658632293" sldId="2147375115"/>
            <ac:spMk id="100" creationId="{455D329F-7BF2-479C-9020-C816CA6F339D}"/>
          </ac:spMkLst>
        </pc:spChg>
        <pc:spChg chg="add mod">
          <ac:chgData name="Rajat Taneja" userId="4ec436a0-470b-456a-af42-a15c99f1cebd" providerId="ADAL" clId="{3EA19806-CD64-4375-9EA7-939EDDB50E03}" dt="2022-04-06T01:25:30.953" v="569" actId="14100"/>
          <ac:spMkLst>
            <pc:docMk/>
            <pc:sldMk cId="658632293" sldId="2147375115"/>
            <ac:spMk id="101" creationId="{D93BEB01-F0BE-4E27-96D2-89BAD4209AD1}"/>
          </ac:spMkLst>
        </pc:spChg>
        <pc:spChg chg="add mod">
          <ac:chgData name="Rajat Taneja" userId="4ec436a0-470b-456a-af42-a15c99f1cebd" providerId="ADAL" clId="{3EA19806-CD64-4375-9EA7-939EDDB50E03}" dt="2022-04-06T01:25:30.953" v="569" actId="14100"/>
          <ac:spMkLst>
            <pc:docMk/>
            <pc:sldMk cId="658632293" sldId="2147375115"/>
            <ac:spMk id="102" creationId="{7BFE46BC-7DB9-4DCD-A0F0-F938F1DC8879}"/>
          </ac:spMkLst>
        </pc:spChg>
        <pc:spChg chg="add mod">
          <ac:chgData name="Rajat Taneja" userId="4ec436a0-470b-456a-af42-a15c99f1cebd" providerId="ADAL" clId="{3EA19806-CD64-4375-9EA7-939EDDB50E03}" dt="2022-04-06T01:25:30.953" v="569" actId="14100"/>
          <ac:spMkLst>
            <pc:docMk/>
            <pc:sldMk cId="658632293" sldId="2147375115"/>
            <ac:spMk id="103" creationId="{D2DFA130-B2F1-4E8F-A845-5EF4F8A1D82C}"/>
          </ac:spMkLst>
        </pc:spChg>
        <pc:spChg chg="add mod">
          <ac:chgData name="Rajat Taneja" userId="4ec436a0-470b-456a-af42-a15c99f1cebd" providerId="ADAL" clId="{3EA19806-CD64-4375-9EA7-939EDDB50E03}" dt="2022-04-06T01:25:30.953" v="569" actId="14100"/>
          <ac:spMkLst>
            <pc:docMk/>
            <pc:sldMk cId="658632293" sldId="2147375115"/>
            <ac:spMk id="104" creationId="{E768AC41-0401-4523-B998-FCFFC0F2C823}"/>
          </ac:spMkLst>
        </pc:spChg>
        <pc:spChg chg="add mod">
          <ac:chgData name="Rajat Taneja" userId="4ec436a0-470b-456a-af42-a15c99f1cebd" providerId="ADAL" clId="{3EA19806-CD64-4375-9EA7-939EDDB50E03}" dt="2022-04-06T01:25:30.953" v="569" actId="14100"/>
          <ac:spMkLst>
            <pc:docMk/>
            <pc:sldMk cId="658632293" sldId="2147375115"/>
            <ac:spMk id="105" creationId="{1C062CD1-26D6-4AB3-B875-80705BF00390}"/>
          </ac:spMkLst>
        </pc:spChg>
        <pc:spChg chg="add mod">
          <ac:chgData name="Rajat Taneja" userId="4ec436a0-470b-456a-af42-a15c99f1cebd" providerId="ADAL" clId="{3EA19806-CD64-4375-9EA7-939EDDB50E03}" dt="2022-04-06T01:25:30.953" v="569" actId="14100"/>
          <ac:spMkLst>
            <pc:docMk/>
            <pc:sldMk cId="658632293" sldId="2147375115"/>
            <ac:spMk id="106" creationId="{ECFB4760-C6F9-4613-AF92-DBA0772A8C3B}"/>
          </ac:spMkLst>
        </pc:spChg>
        <pc:spChg chg="add mod">
          <ac:chgData name="Rajat Taneja" userId="4ec436a0-470b-456a-af42-a15c99f1cebd" providerId="ADAL" clId="{3EA19806-CD64-4375-9EA7-939EDDB50E03}" dt="2022-04-06T01:25:30.953" v="569" actId="14100"/>
          <ac:spMkLst>
            <pc:docMk/>
            <pc:sldMk cId="658632293" sldId="2147375115"/>
            <ac:spMk id="107" creationId="{C084D87E-62C0-49F2-9045-DF1CEC11E56A}"/>
          </ac:spMkLst>
        </pc:spChg>
        <pc:spChg chg="add mod">
          <ac:chgData name="Rajat Taneja" userId="4ec436a0-470b-456a-af42-a15c99f1cebd" providerId="ADAL" clId="{3EA19806-CD64-4375-9EA7-939EDDB50E03}" dt="2022-04-06T01:25:30.953" v="569" actId="14100"/>
          <ac:spMkLst>
            <pc:docMk/>
            <pc:sldMk cId="658632293" sldId="2147375115"/>
            <ac:spMk id="108" creationId="{0369C79A-BA89-463E-87BE-7D79E3F33D1B}"/>
          </ac:spMkLst>
        </pc:spChg>
        <pc:spChg chg="add mod">
          <ac:chgData name="Rajat Taneja" userId="4ec436a0-470b-456a-af42-a15c99f1cebd" providerId="ADAL" clId="{3EA19806-CD64-4375-9EA7-939EDDB50E03}" dt="2022-04-06T01:25:30.953" v="569" actId="14100"/>
          <ac:spMkLst>
            <pc:docMk/>
            <pc:sldMk cId="658632293" sldId="2147375115"/>
            <ac:spMk id="109" creationId="{43E07447-DBB2-4D1C-9276-D5F50FF8BAB4}"/>
          </ac:spMkLst>
        </pc:spChg>
        <pc:spChg chg="add mod">
          <ac:chgData name="Rajat Taneja" userId="4ec436a0-470b-456a-af42-a15c99f1cebd" providerId="ADAL" clId="{3EA19806-CD64-4375-9EA7-939EDDB50E03}" dt="2022-04-06T01:25:30.953" v="569" actId="14100"/>
          <ac:spMkLst>
            <pc:docMk/>
            <pc:sldMk cId="658632293" sldId="2147375115"/>
            <ac:spMk id="110" creationId="{8E9C0A51-E284-4812-896A-42379376121C}"/>
          </ac:spMkLst>
        </pc:spChg>
        <pc:spChg chg="add mod">
          <ac:chgData name="Rajat Taneja" userId="4ec436a0-470b-456a-af42-a15c99f1cebd" providerId="ADAL" clId="{3EA19806-CD64-4375-9EA7-939EDDB50E03}" dt="2022-04-06T01:25:30.953" v="569" actId="14100"/>
          <ac:spMkLst>
            <pc:docMk/>
            <pc:sldMk cId="658632293" sldId="2147375115"/>
            <ac:spMk id="111" creationId="{ED690948-3FBF-4B1E-88C0-9E147BE6F6F0}"/>
          </ac:spMkLst>
        </pc:spChg>
        <pc:spChg chg="add mod">
          <ac:chgData name="Rajat Taneja" userId="4ec436a0-470b-456a-af42-a15c99f1cebd" providerId="ADAL" clId="{3EA19806-CD64-4375-9EA7-939EDDB50E03}" dt="2022-04-06T01:25:30.953" v="569" actId="14100"/>
          <ac:spMkLst>
            <pc:docMk/>
            <pc:sldMk cId="658632293" sldId="2147375115"/>
            <ac:spMk id="112" creationId="{B8860462-2953-461F-82B5-AA3FB54E16CD}"/>
          </ac:spMkLst>
        </pc:spChg>
        <pc:spChg chg="add mod">
          <ac:chgData name="Rajat Taneja" userId="4ec436a0-470b-456a-af42-a15c99f1cebd" providerId="ADAL" clId="{3EA19806-CD64-4375-9EA7-939EDDB50E03}" dt="2022-04-06T01:25:30.953" v="569" actId="14100"/>
          <ac:spMkLst>
            <pc:docMk/>
            <pc:sldMk cId="658632293" sldId="2147375115"/>
            <ac:spMk id="113" creationId="{CC42634A-969B-4483-9DCB-EE1BB8EC977B}"/>
          </ac:spMkLst>
        </pc:spChg>
        <pc:spChg chg="add mod">
          <ac:chgData name="Rajat Taneja" userId="4ec436a0-470b-456a-af42-a15c99f1cebd" providerId="ADAL" clId="{3EA19806-CD64-4375-9EA7-939EDDB50E03}" dt="2022-04-06T01:25:30.953" v="569" actId="14100"/>
          <ac:spMkLst>
            <pc:docMk/>
            <pc:sldMk cId="658632293" sldId="2147375115"/>
            <ac:spMk id="114" creationId="{0D20B529-E6CA-4E97-BC2B-36C809B4FE4E}"/>
          </ac:spMkLst>
        </pc:spChg>
        <pc:spChg chg="add mod">
          <ac:chgData name="Rajat Taneja" userId="4ec436a0-470b-456a-af42-a15c99f1cebd" providerId="ADAL" clId="{3EA19806-CD64-4375-9EA7-939EDDB50E03}" dt="2022-04-06T01:25:30.953" v="569" actId="14100"/>
          <ac:spMkLst>
            <pc:docMk/>
            <pc:sldMk cId="658632293" sldId="2147375115"/>
            <ac:spMk id="115" creationId="{054CA871-B753-4332-A101-B146BB45A0D0}"/>
          </ac:spMkLst>
        </pc:spChg>
        <pc:spChg chg="add mod">
          <ac:chgData name="Rajat Taneja" userId="4ec436a0-470b-456a-af42-a15c99f1cebd" providerId="ADAL" clId="{3EA19806-CD64-4375-9EA7-939EDDB50E03}" dt="2022-04-06T01:25:30.953" v="569" actId="14100"/>
          <ac:spMkLst>
            <pc:docMk/>
            <pc:sldMk cId="658632293" sldId="2147375115"/>
            <ac:spMk id="116" creationId="{470BBC8F-CFB1-4807-99DE-8A3D051A2BCE}"/>
          </ac:spMkLst>
        </pc:spChg>
        <pc:spChg chg="add mod">
          <ac:chgData name="Rajat Taneja" userId="4ec436a0-470b-456a-af42-a15c99f1cebd" providerId="ADAL" clId="{3EA19806-CD64-4375-9EA7-939EDDB50E03}" dt="2022-04-06T01:25:30.953" v="569" actId="14100"/>
          <ac:spMkLst>
            <pc:docMk/>
            <pc:sldMk cId="658632293" sldId="2147375115"/>
            <ac:spMk id="117" creationId="{7281626E-57D0-4833-B449-2C28D0C92A4B}"/>
          </ac:spMkLst>
        </pc:spChg>
        <pc:spChg chg="add mod">
          <ac:chgData name="Rajat Taneja" userId="4ec436a0-470b-456a-af42-a15c99f1cebd" providerId="ADAL" clId="{3EA19806-CD64-4375-9EA7-939EDDB50E03}" dt="2022-04-06T01:25:30.953" v="569" actId="14100"/>
          <ac:spMkLst>
            <pc:docMk/>
            <pc:sldMk cId="658632293" sldId="2147375115"/>
            <ac:spMk id="118" creationId="{957DB2BB-15F7-482B-BAC4-C70E3494C90F}"/>
          </ac:spMkLst>
        </pc:spChg>
        <pc:spChg chg="add mod">
          <ac:chgData name="Rajat Taneja" userId="4ec436a0-470b-456a-af42-a15c99f1cebd" providerId="ADAL" clId="{3EA19806-CD64-4375-9EA7-939EDDB50E03}" dt="2022-04-06T01:25:30.953" v="569" actId="14100"/>
          <ac:spMkLst>
            <pc:docMk/>
            <pc:sldMk cId="658632293" sldId="2147375115"/>
            <ac:spMk id="119" creationId="{00E77F14-0650-4238-BB31-C58EB40397CD}"/>
          </ac:spMkLst>
        </pc:spChg>
        <pc:spChg chg="add mod">
          <ac:chgData name="Rajat Taneja" userId="4ec436a0-470b-456a-af42-a15c99f1cebd" providerId="ADAL" clId="{3EA19806-CD64-4375-9EA7-939EDDB50E03}" dt="2022-04-06T01:25:30.953" v="569" actId="14100"/>
          <ac:spMkLst>
            <pc:docMk/>
            <pc:sldMk cId="658632293" sldId="2147375115"/>
            <ac:spMk id="120" creationId="{F14CC715-6CCB-4481-86E3-5A548AB017E2}"/>
          </ac:spMkLst>
        </pc:spChg>
        <pc:spChg chg="add mod">
          <ac:chgData name="Rajat Taneja" userId="4ec436a0-470b-456a-af42-a15c99f1cebd" providerId="ADAL" clId="{3EA19806-CD64-4375-9EA7-939EDDB50E03}" dt="2022-04-06T01:25:30.953" v="569" actId="14100"/>
          <ac:spMkLst>
            <pc:docMk/>
            <pc:sldMk cId="658632293" sldId="2147375115"/>
            <ac:spMk id="121" creationId="{B21396AE-B3B7-496E-91F3-8A611D9795DF}"/>
          </ac:spMkLst>
        </pc:spChg>
        <pc:spChg chg="add mod">
          <ac:chgData name="Rajat Taneja" userId="4ec436a0-470b-456a-af42-a15c99f1cebd" providerId="ADAL" clId="{3EA19806-CD64-4375-9EA7-939EDDB50E03}" dt="2022-04-06T01:25:30.953" v="569" actId="14100"/>
          <ac:spMkLst>
            <pc:docMk/>
            <pc:sldMk cId="658632293" sldId="2147375115"/>
            <ac:spMk id="122" creationId="{7CCAAD14-4687-45C1-8914-542002FC0A51}"/>
          </ac:spMkLst>
        </pc:spChg>
        <pc:spChg chg="add mod">
          <ac:chgData name="Rajat Taneja" userId="4ec436a0-470b-456a-af42-a15c99f1cebd" providerId="ADAL" clId="{3EA19806-CD64-4375-9EA7-939EDDB50E03}" dt="2022-04-06T01:25:30.953" v="569" actId="14100"/>
          <ac:spMkLst>
            <pc:docMk/>
            <pc:sldMk cId="658632293" sldId="2147375115"/>
            <ac:spMk id="123" creationId="{96ED07F8-BEB0-413A-9C02-1B582E50E83D}"/>
          </ac:spMkLst>
        </pc:spChg>
        <pc:spChg chg="add mod">
          <ac:chgData name="Rajat Taneja" userId="4ec436a0-470b-456a-af42-a15c99f1cebd" providerId="ADAL" clId="{3EA19806-CD64-4375-9EA7-939EDDB50E03}" dt="2022-04-06T01:25:30.953" v="569" actId="14100"/>
          <ac:spMkLst>
            <pc:docMk/>
            <pc:sldMk cId="658632293" sldId="2147375115"/>
            <ac:spMk id="124" creationId="{A6C0816B-317E-493D-A49C-34A08F1B1D47}"/>
          </ac:spMkLst>
        </pc:spChg>
        <pc:spChg chg="add mod">
          <ac:chgData name="Rajat Taneja" userId="4ec436a0-470b-456a-af42-a15c99f1cebd" providerId="ADAL" clId="{3EA19806-CD64-4375-9EA7-939EDDB50E03}" dt="2022-04-06T01:25:30.953" v="569" actId="14100"/>
          <ac:spMkLst>
            <pc:docMk/>
            <pc:sldMk cId="658632293" sldId="2147375115"/>
            <ac:spMk id="125" creationId="{02E71FF9-F3F3-416E-BC5E-397ACEC35CA7}"/>
          </ac:spMkLst>
        </pc:spChg>
        <pc:spChg chg="add mod">
          <ac:chgData name="Rajat Taneja" userId="4ec436a0-470b-456a-af42-a15c99f1cebd" providerId="ADAL" clId="{3EA19806-CD64-4375-9EA7-939EDDB50E03}" dt="2022-04-06T01:25:30.953" v="569" actId="14100"/>
          <ac:spMkLst>
            <pc:docMk/>
            <pc:sldMk cId="658632293" sldId="2147375115"/>
            <ac:spMk id="126" creationId="{761C521C-EAC7-418C-97C6-B23AB2F485B7}"/>
          </ac:spMkLst>
        </pc:spChg>
        <pc:spChg chg="add mod">
          <ac:chgData name="Rajat Taneja" userId="4ec436a0-470b-456a-af42-a15c99f1cebd" providerId="ADAL" clId="{3EA19806-CD64-4375-9EA7-939EDDB50E03}" dt="2022-04-06T01:25:30.953" v="569" actId="14100"/>
          <ac:spMkLst>
            <pc:docMk/>
            <pc:sldMk cId="658632293" sldId="2147375115"/>
            <ac:spMk id="127" creationId="{3AD3F607-5386-4C74-8208-CEDF071FC0B6}"/>
          </ac:spMkLst>
        </pc:spChg>
        <pc:spChg chg="add mod">
          <ac:chgData name="Rajat Taneja" userId="4ec436a0-470b-456a-af42-a15c99f1cebd" providerId="ADAL" clId="{3EA19806-CD64-4375-9EA7-939EDDB50E03}" dt="2022-04-06T01:25:30.953" v="569" actId="14100"/>
          <ac:spMkLst>
            <pc:docMk/>
            <pc:sldMk cId="658632293" sldId="2147375115"/>
            <ac:spMk id="128" creationId="{F0594D8C-FBAF-4C7E-A6B3-D87827BA4BDF}"/>
          </ac:spMkLst>
        </pc:spChg>
        <pc:spChg chg="add mod">
          <ac:chgData name="Rajat Taneja" userId="4ec436a0-470b-456a-af42-a15c99f1cebd" providerId="ADAL" clId="{3EA19806-CD64-4375-9EA7-939EDDB50E03}" dt="2022-04-06T01:25:30.953" v="569" actId="14100"/>
          <ac:spMkLst>
            <pc:docMk/>
            <pc:sldMk cId="658632293" sldId="2147375115"/>
            <ac:spMk id="129" creationId="{F6EAFB2E-F914-4CFA-A50C-58C8888CBEE8}"/>
          </ac:spMkLst>
        </pc:spChg>
        <pc:spChg chg="add mod">
          <ac:chgData name="Rajat Taneja" userId="4ec436a0-470b-456a-af42-a15c99f1cebd" providerId="ADAL" clId="{3EA19806-CD64-4375-9EA7-939EDDB50E03}" dt="2022-04-06T01:25:30.953" v="569" actId="14100"/>
          <ac:spMkLst>
            <pc:docMk/>
            <pc:sldMk cId="658632293" sldId="2147375115"/>
            <ac:spMk id="130" creationId="{4A496B93-D0FF-43CF-8BCF-69D8ACC3ACBE}"/>
          </ac:spMkLst>
        </pc:spChg>
        <pc:spChg chg="add mod">
          <ac:chgData name="Rajat Taneja" userId="4ec436a0-470b-456a-af42-a15c99f1cebd" providerId="ADAL" clId="{3EA19806-CD64-4375-9EA7-939EDDB50E03}" dt="2022-04-06T01:25:30.953" v="569" actId="14100"/>
          <ac:spMkLst>
            <pc:docMk/>
            <pc:sldMk cId="658632293" sldId="2147375115"/>
            <ac:spMk id="131" creationId="{1F6D03AB-8129-4B81-ADB7-4ED7FC32F8C8}"/>
          </ac:spMkLst>
        </pc:spChg>
        <pc:spChg chg="add mod">
          <ac:chgData name="Rajat Taneja" userId="4ec436a0-470b-456a-af42-a15c99f1cebd" providerId="ADAL" clId="{3EA19806-CD64-4375-9EA7-939EDDB50E03}" dt="2022-04-06T01:25:30.953" v="569" actId="14100"/>
          <ac:spMkLst>
            <pc:docMk/>
            <pc:sldMk cId="658632293" sldId="2147375115"/>
            <ac:spMk id="132" creationId="{BB7D35AB-6F2F-4B0B-8C16-95E6E73F7594}"/>
          </ac:spMkLst>
        </pc:spChg>
        <pc:spChg chg="add mod">
          <ac:chgData name="Rajat Taneja" userId="4ec436a0-470b-456a-af42-a15c99f1cebd" providerId="ADAL" clId="{3EA19806-CD64-4375-9EA7-939EDDB50E03}" dt="2022-04-06T01:25:30.953" v="569" actId="14100"/>
          <ac:spMkLst>
            <pc:docMk/>
            <pc:sldMk cId="658632293" sldId="2147375115"/>
            <ac:spMk id="133" creationId="{84320D06-1599-4861-A3BC-608F748B8FBB}"/>
          </ac:spMkLst>
        </pc:spChg>
        <pc:spChg chg="add mod">
          <ac:chgData name="Rajat Taneja" userId="4ec436a0-470b-456a-af42-a15c99f1cebd" providerId="ADAL" clId="{3EA19806-CD64-4375-9EA7-939EDDB50E03}" dt="2022-04-06T01:25:30.953" v="569" actId="14100"/>
          <ac:spMkLst>
            <pc:docMk/>
            <pc:sldMk cId="658632293" sldId="2147375115"/>
            <ac:spMk id="134" creationId="{E7DA5450-8E82-44AB-8619-75C0C642446B}"/>
          </ac:spMkLst>
        </pc:spChg>
        <pc:spChg chg="add mod">
          <ac:chgData name="Rajat Taneja" userId="4ec436a0-470b-456a-af42-a15c99f1cebd" providerId="ADAL" clId="{3EA19806-CD64-4375-9EA7-939EDDB50E03}" dt="2022-04-06T01:25:30.953" v="569" actId="14100"/>
          <ac:spMkLst>
            <pc:docMk/>
            <pc:sldMk cId="658632293" sldId="2147375115"/>
            <ac:spMk id="135" creationId="{B42D7DCD-AFB6-4592-A116-1B75962E410D}"/>
          </ac:spMkLst>
        </pc:spChg>
        <pc:spChg chg="add mod">
          <ac:chgData name="Rajat Taneja" userId="4ec436a0-470b-456a-af42-a15c99f1cebd" providerId="ADAL" clId="{3EA19806-CD64-4375-9EA7-939EDDB50E03}" dt="2022-04-06T01:25:30.953" v="569" actId="14100"/>
          <ac:spMkLst>
            <pc:docMk/>
            <pc:sldMk cId="658632293" sldId="2147375115"/>
            <ac:spMk id="136" creationId="{F15FB9D8-517C-4E88-9814-2C628F81DF47}"/>
          </ac:spMkLst>
        </pc:spChg>
        <pc:spChg chg="add mod">
          <ac:chgData name="Rajat Taneja" userId="4ec436a0-470b-456a-af42-a15c99f1cebd" providerId="ADAL" clId="{3EA19806-CD64-4375-9EA7-939EDDB50E03}" dt="2022-04-06T01:25:30.953" v="569" actId="14100"/>
          <ac:spMkLst>
            <pc:docMk/>
            <pc:sldMk cId="658632293" sldId="2147375115"/>
            <ac:spMk id="137" creationId="{42C03AAC-973D-48A1-BA8A-205F86B86AA3}"/>
          </ac:spMkLst>
        </pc:spChg>
        <pc:spChg chg="add mod">
          <ac:chgData name="Rajat Taneja" userId="4ec436a0-470b-456a-af42-a15c99f1cebd" providerId="ADAL" clId="{3EA19806-CD64-4375-9EA7-939EDDB50E03}" dt="2022-04-06T01:25:30.953" v="569" actId="14100"/>
          <ac:spMkLst>
            <pc:docMk/>
            <pc:sldMk cId="658632293" sldId="2147375115"/>
            <ac:spMk id="138" creationId="{15314E56-A05B-412D-8468-FBEF5895C39C}"/>
          </ac:spMkLst>
        </pc:spChg>
        <pc:spChg chg="add mod">
          <ac:chgData name="Rajat Taneja" userId="4ec436a0-470b-456a-af42-a15c99f1cebd" providerId="ADAL" clId="{3EA19806-CD64-4375-9EA7-939EDDB50E03}" dt="2022-04-06T01:25:30.953" v="569" actId="14100"/>
          <ac:spMkLst>
            <pc:docMk/>
            <pc:sldMk cId="658632293" sldId="2147375115"/>
            <ac:spMk id="139" creationId="{2CAC2330-796B-4D8D-92CB-ACCFC32D3FEF}"/>
          </ac:spMkLst>
        </pc:spChg>
        <pc:spChg chg="add mod">
          <ac:chgData name="Rajat Taneja" userId="4ec436a0-470b-456a-af42-a15c99f1cebd" providerId="ADAL" clId="{3EA19806-CD64-4375-9EA7-939EDDB50E03}" dt="2022-04-06T01:25:30.953" v="569" actId="14100"/>
          <ac:spMkLst>
            <pc:docMk/>
            <pc:sldMk cId="658632293" sldId="2147375115"/>
            <ac:spMk id="140" creationId="{F54B875F-53DE-476D-BD17-907BE9411897}"/>
          </ac:spMkLst>
        </pc:spChg>
        <pc:spChg chg="add mod">
          <ac:chgData name="Rajat Taneja" userId="4ec436a0-470b-456a-af42-a15c99f1cebd" providerId="ADAL" clId="{3EA19806-CD64-4375-9EA7-939EDDB50E03}" dt="2022-04-06T01:25:30.953" v="569" actId="14100"/>
          <ac:spMkLst>
            <pc:docMk/>
            <pc:sldMk cId="658632293" sldId="2147375115"/>
            <ac:spMk id="141" creationId="{AEE597CF-9535-4957-8651-7AD02138BFE9}"/>
          </ac:spMkLst>
        </pc:spChg>
        <pc:spChg chg="add mod">
          <ac:chgData name="Rajat Taneja" userId="4ec436a0-470b-456a-af42-a15c99f1cebd" providerId="ADAL" clId="{3EA19806-CD64-4375-9EA7-939EDDB50E03}" dt="2022-04-06T01:25:30.953" v="569" actId="14100"/>
          <ac:spMkLst>
            <pc:docMk/>
            <pc:sldMk cId="658632293" sldId="2147375115"/>
            <ac:spMk id="142" creationId="{F2DA06E2-1D2C-41D7-9198-B4E394932F17}"/>
          </ac:spMkLst>
        </pc:spChg>
        <pc:spChg chg="add mod">
          <ac:chgData name="Rajat Taneja" userId="4ec436a0-470b-456a-af42-a15c99f1cebd" providerId="ADAL" clId="{3EA19806-CD64-4375-9EA7-939EDDB50E03}" dt="2022-04-06T01:25:30.953" v="569" actId="14100"/>
          <ac:spMkLst>
            <pc:docMk/>
            <pc:sldMk cId="658632293" sldId="2147375115"/>
            <ac:spMk id="143" creationId="{3C21ADE5-6DAB-41A9-B253-8EBD18C13F7D}"/>
          </ac:spMkLst>
        </pc:spChg>
        <pc:spChg chg="add mod">
          <ac:chgData name="Rajat Taneja" userId="4ec436a0-470b-456a-af42-a15c99f1cebd" providerId="ADAL" clId="{3EA19806-CD64-4375-9EA7-939EDDB50E03}" dt="2022-04-06T01:25:30.953" v="569" actId="14100"/>
          <ac:spMkLst>
            <pc:docMk/>
            <pc:sldMk cId="658632293" sldId="2147375115"/>
            <ac:spMk id="144" creationId="{3D82587F-75D9-4633-B535-0E608BC9423D}"/>
          </ac:spMkLst>
        </pc:spChg>
        <pc:spChg chg="add mod">
          <ac:chgData name="Rajat Taneja" userId="4ec436a0-470b-456a-af42-a15c99f1cebd" providerId="ADAL" clId="{3EA19806-CD64-4375-9EA7-939EDDB50E03}" dt="2022-04-06T01:25:30.953" v="569" actId="14100"/>
          <ac:spMkLst>
            <pc:docMk/>
            <pc:sldMk cId="658632293" sldId="2147375115"/>
            <ac:spMk id="145" creationId="{C72CBB93-E961-4ADE-80F7-3E9C6A35869D}"/>
          </ac:spMkLst>
        </pc:spChg>
        <pc:spChg chg="add mod">
          <ac:chgData name="Rajat Taneja" userId="4ec436a0-470b-456a-af42-a15c99f1cebd" providerId="ADAL" clId="{3EA19806-CD64-4375-9EA7-939EDDB50E03}" dt="2022-04-06T01:25:30.953" v="569" actId="14100"/>
          <ac:spMkLst>
            <pc:docMk/>
            <pc:sldMk cId="658632293" sldId="2147375115"/>
            <ac:spMk id="146" creationId="{91287AF3-6D5B-460C-9983-C07CBD9931E0}"/>
          </ac:spMkLst>
        </pc:spChg>
        <pc:spChg chg="add mod">
          <ac:chgData name="Rajat Taneja" userId="4ec436a0-470b-456a-af42-a15c99f1cebd" providerId="ADAL" clId="{3EA19806-CD64-4375-9EA7-939EDDB50E03}" dt="2022-04-06T01:25:30.953" v="569" actId="14100"/>
          <ac:spMkLst>
            <pc:docMk/>
            <pc:sldMk cId="658632293" sldId="2147375115"/>
            <ac:spMk id="147" creationId="{C79475A5-459C-40EF-97CF-5FFD5DE48958}"/>
          </ac:spMkLst>
        </pc:spChg>
        <pc:spChg chg="add del mod">
          <ac:chgData name="Rajat Taneja" userId="4ec436a0-470b-456a-af42-a15c99f1cebd" providerId="ADAL" clId="{3EA19806-CD64-4375-9EA7-939EDDB50E03}" dt="2022-04-06T01:24:56.448" v="565" actId="478"/>
          <ac:spMkLst>
            <pc:docMk/>
            <pc:sldMk cId="658632293" sldId="2147375115"/>
            <ac:spMk id="148" creationId="{C5519BF3-D2D7-4F32-9BE1-6CFA7054CB49}"/>
          </ac:spMkLst>
        </pc:spChg>
        <pc:spChg chg="add del mod">
          <ac:chgData name="Rajat Taneja" userId="4ec436a0-470b-456a-af42-a15c99f1cebd" providerId="ADAL" clId="{3EA19806-CD64-4375-9EA7-939EDDB50E03}" dt="2022-04-06T01:24:59.314" v="566" actId="478"/>
          <ac:spMkLst>
            <pc:docMk/>
            <pc:sldMk cId="658632293" sldId="2147375115"/>
            <ac:spMk id="149" creationId="{F1743A9F-3FAF-4C8E-B576-3E6A39D9D54D}"/>
          </ac:spMkLst>
        </pc:spChg>
        <pc:spChg chg="add del mod">
          <ac:chgData name="Rajat Taneja" userId="4ec436a0-470b-456a-af42-a15c99f1cebd" providerId="ADAL" clId="{3EA19806-CD64-4375-9EA7-939EDDB50E03}" dt="2022-04-06T01:24:23.636" v="551" actId="478"/>
          <ac:spMkLst>
            <pc:docMk/>
            <pc:sldMk cId="658632293" sldId="2147375115"/>
            <ac:spMk id="162" creationId="{338A0806-E369-4783-A6B9-A7449E94FE2B}"/>
          </ac:spMkLst>
        </pc:spChg>
        <pc:spChg chg="add del mod">
          <ac:chgData name="Rajat Taneja" userId="4ec436a0-470b-456a-af42-a15c99f1cebd" providerId="ADAL" clId="{3EA19806-CD64-4375-9EA7-939EDDB50E03}" dt="2022-04-06T01:24:35.045" v="555" actId="478"/>
          <ac:spMkLst>
            <pc:docMk/>
            <pc:sldMk cId="658632293" sldId="2147375115"/>
            <ac:spMk id="163" creationId="{400F8BAF-4CC4-47CF-A3E6-4C25E1A61AE3}"/>
          </ac:spMkLst>
        </pc:spChg>
        <pc:spChg chg="add mod">
          <ac:chgData name="Rajat Taneja" userId="4ec436a0-470b-456a-af42-a15c99f1cebd" providerId="ADAL" clId="{3EA19806-CD64-4375-9EA7-939EDDB50E03}" dt="2022-04-06T01:25:30.953" v="569" actId="14100"/>
          <ac:spMkLst>
            <pc:docMk/>
            <pc:sldMk cId="658632293" sldId="2147375115"/>
            <ac:spMk id="164" creationId="{42DE6A94-EC9C-46B3-A18F-6679375EAF07}"/>
          </ac:spMkLst>
        </pc:spChg>
        <pc:spChg chg="add mod">
          <ac:chgData name="Rajat Taneja" userId="4ec436a0-470b-456a-af42-a15c99f1cebd" providerId="ADAL" clId="{3EA19806-CD64-4375-9EA7-939EDDB50E03}" dt="2022-04-06T01:25:30.953" v="569" actId="14100"/>
          <ac:spMkLst>
            <pc:docMk/>
            <pc:sldMk cId="658632293" sldId="2147375115"/>
            <ac:spMk id="165" creationId="{AF69C82E-3CC8-4FC5-8049-F491EFEE44EE}"/>
          </ac:spMkLst>
        </pc:spChg>
        <pc:spChg chg="mod">
          <ac:chgData name="Rajat Taneja" userId="4ec436a0-470b-456a-af42-a15c99f1cebd" providerId="ADAL" clId="{3EA19806-CD64-4375-9EA7-939EDDB50E03}" dt="2022-04-06T01:41:24.509" v="772" actId="14100"/>
          <ac:spMkLst>
            <pc:docMk/>
            <pc:sldMk cId="658632293" sldId="2147375115"/>
            <ac:spMk id="168" creationId="{7B98A50E-48FC-45D5-A8EE-C6A7C62A47F6}"/>
          </ac:spMkLst>
        </pc:spChg>
        <pc:spChg chg="mod">
          <ac:chgData name="Rajat Taneja" userId="4ec436a0-470b-456a-af42-a15c99f1cebd" providerId="ADAL" clId="{3EA19806-CD64-4375-9EA7-939EDDB50E03}" dt="2022-04-06T01:41:24.509" v="772" actId="14100"/>
          <ac:spMkLst>
            <pc:docMk/>
            <pc:sldMk cId="658632293" sldId="2147375115"/>
            <ac:spMk id="169" creationId="{96E98D1F-F488-48F5-A7F5-1DF42F04CC18}"/>
          </ac:spMkLst>
        </pc:spChg>
        <pc:spChg chg="mod">
          <ac:chgData name="Rajat Taneja" userId="4ec436a0-470b-456a-af42-a15c99f1cebd" providerId="ADAL" clId="{3EA19806-CD64-4375-9EA7-939EDDB50E03}" dt="2022-04-06T01:41:24.509" v="772" actId="14100"/>
          <ac:spMkLst>
            <pc:docMk/>
            <pc:sldMk cId="658632293" sldId="2147375115"/>
            <ac:spMk id="170" creationId="{2015B24C-6667-4006-B014-B8E28EDAEB08}"/>
          </ac:spMkLst>
        </pc:spChg>
        <pc:spChg chg="mod">
          <ac:chgData name="Rajat Taneja" userId="4ec436a0-470b-456a-af42-a15c99f1cebd" providerId="ADAL" clId="{3EA19806-CD64-4375-9EA7-939EDDB50E03}" dt="2022-04-06T01:41:24.509" v="772" actId="14100"/>
          <ac:spMkLst>
            <pc:docMk/>
            <pc:sldMk cId="658632293" sldId="2147375115"/>
            <ac:spMk id="171" creationId="{6E1DEDC6-E880-467A-A939-BA1AAA5AC124}"/>
          </ac:spMkLst>
        </pc:spChg>
        <pc:spChg chg="mod">
          <ac:chgData name="Rajat Taneja" userId="4ec436a0-470b-456a-af42-a15c99f1cebd" providerId="ADAL" clId="{3EA19806-CD64-4375-9EA7-939EDDB50E03}" dt="2022-04-06T01:41:24.509" v="772" actId="14100"/>
          <ac:spMkLst>
            <pc:docMk/>
            <pc:sldMk cId="658632293" sldId="2147375115"/>
            <ac:spMk id="172" creationId="{5847B74C-E353-4B9A-9BC5-91F7AA1DC529}"/>
          </ac:spMkLst>
        </pc:spChg>
        <pc:spChg chg="mod">
          <ac:chgData name="Rajat Taneja" userId="4ec436a0-470b-456a-af42-a15c99f1cebd" providerId="ADAL" clId="{3EA19806-CD64-4375-9EA7-939EDDB50E03}" dt="2022-04-06T01:41:24.509" v="772" actId="14100"/>
          <ac:spMkLst>
            <pc:docMk/>
            <pc:sldMk cId="658632293" sldId="2147375115"/>
            <ac:spMk id="173" creationId="{AED0CCE4-2E75-4E72-BCE5-37BA8E9DF6DD}"/>
          </ac:spMkLst>
        </pc:spChg>
        <pc:spChg chg="mod">
          <ac:chgData name="Rajat Taneja" userId="4ec436a0-470b-456a-af42-a15c99f1cebd" providerId="ADAL" clId="{3EA19806-CD64-4375-9EA7-939EDDB50E03}" dt="2022-04-06T01:41:24.509" v="772" actId="14100"/>
          <ac:spMkLst>
            <pc:docMk/>
            <pc:sldMk cId="658632293" sldId="2147375115"/>
            <ac:spMk id="174" creationId="{D41FCF1B-33D5-4349-AA1F-7854C34FDD06}"/>
          </ac:spMkLst>
        </pc:spChg>
        <pc:spChg chg="mod">
          <ac:chgData name="Rajat Taneja" userId="4ec436a0-470b-456a-af42-a15c99f1cebd" providerId="ADAL" clId="{3EA19806-CD64-4375-9EA7-939EDDB50E03}" dt="2022-04-06T01:41:24.509" v="772" actId="14100"/>
          <ac:spMkLst>
            <pc:docMk/>
            <pc:sldMk cId="658632293" sldId="2147375115"/>
            <ac:spMk id="175" creationId="{67AF2382-33D5-46FD-A0C4-A209FE509944}"/>
          </ac:spMkLst>
        </pc:spChg>
        <pc:spChg chg="mod">
          <ac:chgData name="Rajat Taneja" userId="4ec436a0-470b-456a-af42-a15c99f1cebd" providerId="ADAL" clId="{3EA19806-CD64-4375-9EA7-939EDDB50E03}" dt="2022-04-06T01:41:24.509" v="772" actId="14100"/>
          <ac:spMkLst>
            <pc:docMk/>
            <pc:sldMk cId="658632293" sldId="2147375115"/>
            <ac:spMk id="176" creationId="{3D00EDFF-0DA7-4CCF-9E18-EA3CD90C1276}"/>
          </ac:spMkLst>
        </pc:spChg>
        <pc:spChg chg="mod">
          <ac:chgData name="Rajat Taneja" userId="4ec436a0-470b-456a-af42-a15c99f1cebd" providerId="ADAL" clId="{3EA19806-CD64-4375-9EA7-939EDDB50E03}" dt="2022-04-06T01:41:24.509" v="772" actId="14100"/>
          <ac:spMkLst>
            <pc:docMk/>
            <pc:sldMk cId="658632293" sldId="2147375115"/>
            <ac:spMk id="177" creationId="{04F739B6-8EBD-444A-BCDF-D0A0F3077ECF}"/>
          </ac:spMkLst>
        </pc:spChg>
        <pc:spChg chg="mod">
          <ac:chgData name="Rajat Taneja" userId="4ec436a0-470b-456a-af42-a15c99f1cebd" providerId="ADAL" clId="{3EA19806-CD64-4375-9EA7-939EDDB50E03}" dt="2022-04-06T01:41:24.509" v="772" actId="14100"/>
          <ac:spMkLst>
            <pc:docMk/>
            <pc:sldMk cId="658632293" sldId="2147375115"/>
            <ac:spMk id="178" creationId="{89781A24-9F43-4A5E-B8EB-1762AAA172E6}"/>
          </ac:spMkLst>
        </pc:spChg>
        <pc:spChg chg="mod">
          <ac:chgData name="Rajat Taneja" userId="4ec436a0-470b-456a-af42-a15c99f1cebd" providerId="ADAL" clId="{3EA19806-CD64-4375-9EA7-939EDDB50E03}" dt="2022-04-06T01:41:24.509" v="772" actId="14100"/>
          <ac:spMkLst>
            <pc:docMk/>
            <pc:sldMk cId="658632293" sldId="2147375115"/>
            <ac:spMk id="179" creationId="{1CD51A4D-6930-4277-854C-C85D61FC199F}"/>
          </ac:spMkLst>
        </pc:spChg>
        <pc:spChg chg="mod">
          <ac:chgData name="Rajat Taneja" userId="4ec436a0-470b-456a-af42-a15c99f1cebd" providerId="ADAL" clId="{3EA19806-CD64-4375-9EA7-939EDDB50E03}" dt="2022-04-06T01:41:24.509" v="772" actId="14100"/>
          <ac:spMkLst>
            <pc:docMk/>
            <pc:sldMk cId="658632293" sldId="2147375115"/>
            <ac:spMk id="180" creationId="{D6B7E720-15CF-4794-BFD9-949A1EDEB907}"/>
          </ac:spMkLst>
        </pc:spChg>
        <pc:spChg chg="mod">
          <ac:chgData name="Rajat Taneja" userId="4ec436a0-470b-456a-af42-a15c99f1cebd" providerId="ADAL" clId="{3EA19806-CD64-4375-9EA7-939EDDB50E03}" dt="2022-04-06T01:41:24.509" v="772" actId="14100"/>
          <ac:spMkLst>
            <pc:docMk/>
            <pc:sldMk cId="658632293" sldId="2147375115"/>
            <ac:spMk id="181" creationId="{4D2179D2-9185-4240-9DCB-642021A2EFC2}"/>
          </ac:spMkLst>
        </pc:spChg>
        <pc:spChg chg="mod">
          <ac:chgData name="Rajat Taneja" userId="4ec436a0-470b-456a-af42-a15c99f1cebd" providerId="ADAL" clId="{3EA19806-CD64-4375-9EA7-939EDDB50E03}" dt="2022-04-06T01:41:24.509" v="772" actId="14100"/>
          <ac:spMkLst>
            <pc:docMk/>
            <pc:sldMk cId="658632293" sldId="2147375115"/>
            <ac:spMk id="182" creationId="{59C9C224-88FA-48E1-8E93-51632D199229}"/>
          </ac:spMkLst>
        </pc:spChg>
        <pc:spChg chg="mod">
          <ac:chgData name="Rajat Taneja" userId="4ec436a0-470b-456a-af42-a15c99f1cebd" providerId="ADAL" clId="{3EA19806-CD64-4375-9EA7-939EDDB50E03}" dt="2022-04-06T01:41:24.509" v="772" actId="14100"/>
          <ac:spMkLst>
            <pc:docMk/>
            <pc:sldMk cId="658632293" sldId="2147375115"/>
            <ac:spMk id="183" creationId="{7EAA5146-97A2-4D71-97AC-CC2198EDA285}"/>
          </ac:spMkLst>
        </pc:spChg>
        <pc:spChg chg="mod">
          <ac:chgData name="Rajat Taneja" userId="4ec436a0-470b-456a-af42-a15c99f1cebd" providerId="ADAL" clId="{3EA19806-CD64-4375-9EA7-939EDDB50E03}" dt="2022-04-06T01:41:24.509" v="772" actId="14100"/>
          <ac:spMkLst>
            <pc:docMk/>
            <pc:sldMk cId="658632293" sldId="2147375115"/>
            <ac:spMk id="184" creationId="{BE10CAB7-BA21-4BA7-822C-69FE58284AF8}"/>
          </ac:spMkLst>
        </pc:spChg>
        <pc:spChg chg="mod">
          <ac:chgData name="Rajat Taneja" userId="4ec436a0-470b-456a-af42-a15c99f1cebd" providerId="ADAL" clId="{3EA19806-CD64-4375-9EA7-939EDDB50E03}" dt="2022-04-06T01:41:24.509" v="772" actId="14100"/>
          <ac:spMkLst>
            <pc:docMk/>
            <pc:sldMk cId="658632293" sldId="2147375115"/>
            <ac:spMk id="185" creationId="{9C37C534-6300-421F-83B0-ED0F16DD4A57}"/>
          </ac:spMkLst>
        </pc:spChg>
        <pc:spChg chg="mod">
          <ac:chgData name="Rajat Taneja" userId="4ec436a0-470b-456a-af42-a15c99f1cebd" providerId="ADAL" clId="{3EA19806-CD64-4375-9EA7-939EDDB50E03}" dt="2022-04-06T01:41:24.509" v="772" actId="14100"/>
          <ac:spMkLst>
            <pc:docMk/>
            <pc:sldMk cId="658632293" sldId="2147375115"/>
            <ac:spMk id="186" creationId="{70711129-A2E3-44BA-A1BB-5D8A6A316B9C}"/>
          </ac:spMkLst>
        </pc:spChg>
        <pc:spChg chg="mod">
          <ac:chgData name="Rajat Taneja" userId="4ec436a0-470b-456a-af42-a15c99f1cebd" providerId="ADAL" clId="{3EA19806-CD64-4375-9EA7-939EDDB50E03}" dt="2022-04-06T01:41:24.509" v="772" actId="14100"/>
          <ac:spMkLst>
            <pc:docMk/>
            <pc:sldMk cId="658632293" sldId="2147375115"/>
            <ac:spMk id="187" creationId="{0A296B19-41EA-47F2-84DB-5887F5E18B46}"/>
          </ac:spMkLst>
        </pc:spChg>
        <pc:spChg chg="mod">
          <ac:chgData name="Rajat Taneja" userId="4ec436a0-470b-456a-af42-a15c99f1cebd" providerId="ADAL" clId="{3EA19806-CD64-4375-9EA7-939EDDB50E03}" dt="2022-04-06T01:41:24.509" v="772" actId="14100"/>
          <ac:spMkLst>
            <pc:docMk/>
            <pc:sldMk cId="658632293" sldId="2147375115"/>
            <ac:spMk id="188" creationId="{E1CD5186-209A-4C22-96A1-A499D84310C3}"/>
          </ac:spMkLst>
        </pc:spChg>
        <pc:spChg chg="mod">
          <ac:chgData name="Rajat Taneja" userId="4ec436a0-470b-456a-af42-a15c99f1cebd" providerId="ADAL" clId="{3EA19806-CD64-4375-9EA7-939EDDB50E03}" dt="2022-04-06T01:41:24.509" v="772" actId="14100"/>
          <ac:spMkLst>
            <pc:docMk/>
            <pc:sldMk cId="658632293" sldId="2147375115"/>
            <ac:spMk id="189" creationId="{13FE480C-10CB-4612-A7E7-51DDDAF43CDA}"/>
          </ac:spMkLst>
        </pc:spChg>
        <pc:spChg chg="mod">
          <ac:chgData name="Rajat Taneja" userId="4ec436a0-470b-456a-af42-a15c99f1cebd" providerId="ADAL" clId="{3EA19806-CD64-4375-9EA7-939EDDB50E03}" dt="2022-04-06T01:41:24.509" v="772" actId="14100"/>
          <ac:spMkLst>
            <pc:docMk/>
            <pc:sldMk cId="658632293" sldId="2147375115"/>
            <ac:spMk id="190" creationId="{9AE468D1-B859-4638-AB87-D2A60D6ABBED}"/>
          </ac:spMkLst>
        </pc:spChg>
        <pc:spChg chg="mod">
          <ac:chgData name="Rajat Taneja" userId="4ec436a0-470b-456a-af42-a15c99f1cebd" providerId="ADAL" clId="{3EA19806-CD64-4375-9EA7-939EDDB50E03}" dt="2022-04-06T01:41:24.509" v="772" actId="14100"/>
          <ac:spMkLst>
            <pc:docMk/>
            <pc:sldMk cId="658632293" sldId="2147375115"/>
            <ac:spMk id="191" creationId="{05E4C1AA-A99B-4137-8880-FE6AA56590A1}"/>
          </ac:spMkLst>
        </pc:spChg>
        <pc:spChg chg="mod">
          <ac:chgData name="Rajat Taneja" userId="4ec436a0-470b-456a-af42-a15c99f1cebd" providerId="ADAL" clId="{3EA19806-CD64-4375-9EA7-939EDDB50E03}" dt="2022-04-06T01:41:24.509" v="772" actId="14100"/>
          <ac:spMkLst>
            <pc:docMk/>
            <pc:sldMk cId="658632293" sldId="2147375115"/>
            <ac:spMk id="192" creationId="{D90F8835-D03D-4A4D-9898-FF0562589CA0}"/>
          </ac:spMkLst>
        </pc:spChg>
        <pc:spChg chg="mod">
          <ac:chgData name="Rajat Taneja" userId="4ec436a0-470b-456a-af42-a15c99f1cebd" providerId="ADAL" clId="{3EA19806-CD64-4375-9EA7-939EDDB50E03}" dt="2022-04-06T01:41:24.509" v="772" actId="14100"/>
          <ac:spMkLst>
            <pc:docMk/>
            <pc:sldMk cId="658632293" sldId="2147375115"/>
            <ac:spMk id="193" creationId="{73A8F929-A8DE-4B52-9D29-B58FD64BBEFA}"/>
          </ac:spMkLst>
        </pc:spChg>
        <pc:spChg chg="mod">
          <ac:chgData name="Rajat Taneja" userId="4ec436a0-470b-456a-af42-a15c99f1cebd" providerId="ADAL" clId="{3EA19806-CD64-4375-9EA7-939EDDB50E03}" dt="2022-04-06T01:41:24.509" v="772" actId="14100"/>
          <ac:spMkLst>
            <pc:docMk/>
            <pc:sldMk cId="658632293" sldId="2147375115"/>
            <ac:spMk id="194" creationId="{F4F0A5B8-0CCE-4E6C-BD58-4D78870FED93}"/>
          </ac:spMkLst>
        </pc:spChg>
        <pc:spChg chg="mod">
          <ac:chgData name="Rajat Taneja" userId="4ec436a0-470b-456a-af42-a15c99f1cebd" providerId="ADAL" clId="{3EA19806-CD64-4375-9EA7-939EDDB50E03}" dt="2022-04-06T01:41:24.509" v="772" actId="14100"/>
          <ac:spMkLst>
            <pc:docMk/>
            <pc:sldMk cId="658632293" sldId="2147375115"/>
            <ac:spMk id="195" creationId="{9251ACA8-8945-4FA2-948C-810B02CB6519}"/>
          </ac:spMkLst>
        </pc:spChg>
        <pc:spChg chg="mod">
          <ac:chgData name="Rajat Taneja" userId="4ec436a0-470b-456a-af42-a15c99f1cebd" providerId="ADAL" clId="{3EA19806-CD64-4375-9EA7-939EDDB50E03}" dt="2022-04-06T01:41:24.509" v="772" actId="14100"/>
          <ac:spMkLst>
            <pc:docMk/>
            <pc:sldMk cId="658632293" sldId="2147375115"/>
            <ac:spMk id="196" creationId="{7F592B11-385A-4050-9CD5-13C054B87C1F}"/>
          </ac:spMkLst>
        </pc:spChg>
        <pc:spChg chg="mod">
          <ac:chgData name="Rajat Taneja" userId="4ec436a0-470b-456a-af42-a15c99f1cebd" providerId="ADAL" clId="{3EA19806-CD64-4375-9EA7-939EDDB50E03}" dt="2022-04-06T01:41:24.509" v="772" actId="14100"/>
          <ac:spMkLst>
            <pc:docMk/>
            <pc:sldMk cId="658632293" sldId="2147375115"/>
            <ac:spMk id="197" creationId="{04ADBC0F-21C3-4042-ABBA-B4ADA898859B}"/>
          </ac:spMkLst>
        </pc:spChg>
        <pc:spChg chg="mod">
          <ac:chgData name="Rajat Taneja" userId="4ec436a0-470b-456a-af42-a15c99f1cebd" providerId="ADAL" clId="{3EA19806-CD64-4375-9EA7-939EDDB50E03}" dt="2022-04-06T01:41:24.509" v="772" actId="14100"/>
          <ac:spMkLst>
            <pc:docMk/>
            <pc:sldMk cId="658632293" sldId="2147375115"/>
            <ac:spMk id="198" creationId="{BA3FD149-3D13-4DE0-BD56-64CE010E48E3}"/>
          </ac:spMkLst>
        </pc:spChg>
        <pc:spChg chg="mod">
          <ac:chgData name="Rajat Taneja" userId="4ec436a0-470b-456a-af42-a15c99f1cebd" providerId="ADAL" clId="{3EA19806-CD64-4375-9EA7-939EDDB50E03}" dt="2022-04-06T01:41:24.509" v="772" actId="14100"/>
          <ac:spMkLst>
            <pc:docMk/>
            <pc:sldMk cId="658632293" sldId="2147375115"/>
            <ac:spMk id="199" creationId="{EB376299-640B-43D3-9FFD-EA23EEA5E029}"/>
          </ac:spMkLst>
        </pc:spChg>
        <pc:spChg chg="mod">
          <ac:chgData name="Rajat Taneja" userId="4ec436a0-470b-456a-af42-a15c99f1cebd" providerId="ADAL" clId="{3EA19806-CD64-4375-9EA7-939EDDB50E03}" dt="2022-04-06T01:41:24.509" v="772" actId="14100"/>
          <ac:spMkLst>
            <pc:docMk/>
            <pc:sldMk cId="658632293" sldId="2147375115"/>
            <ac:spMk id="200" creationId="{FDA5CF37-503B-4A7A-8640-6881722403D3}"/>
          </ac:spMkLst>
        </pc:spChg>
        <pc:spChg chg="mod">
          <ac:chgData name="Rajat Taneja" userId="4ec436a0-470b-456a-af42-a15c99f1cebd" providerId="ADAL" clId="{3EA19806-CD64-4375-9EA7-939EDDB50E03}" dt="2022-04-06T01:41:24.509" v="772" actId="14100"/>
          <ac:spMkLst>
            <pc:docMk/>
            <pc:sldMk cId="658632293" sldId="2147375115"/>
            <ac:spMk id="201" creationId="{3FCF15EB-6946-4EC9-9D2C-DED134E0D96F}"/>
          </ac:spMkLst>
        </pc:spChg>
        <pc:spChg chg="mod">
          <ac:chgData name="Rajat Taneja" userId="4ec436a0-470b-456a-af42-a15c99f1cebd" providerId="ADAL" clId="{3EA19806-CD64-4375-9EA7-939EDDB50E03}" dt="2022-04-06T01:41:24.509" v="772" actId="14100"/>
          <ac:spMkLst>
            <pc:docMk/>
            <pc:sldMk cId="658632293" sldId="2147375115"/>
            <ac:spMk id="202" creationId="{A91C5C6D-D8D2-419C-8B6E-E2B78A6B6A71}"/>
          </ac:spMkLst>
        </pc:spChg>
        <pc:spChg chg="mod">
          <ac:chgData name="Rajat Taneja" userId="4ec436a0-470b-456a-af42-a15c99f1cebd" providerId="ADAL" clId="{3EA19806-CD64-4375-9EA7-939EDDB50E03}" dt="2022-04-06T01:41:24.509" v="772" actId="14100"/>
          <ac:spMkLst>
            <pc:docMk/>
            <pc:sldMk cId="658632293" sldId="2147375115"/>
            <ac:spMk id="203" creationId="{AB9A8800-66F7-46C1-BCD0-FF86986DD1FF}"/>
          </ac:spMkLst>
        </pc:spChg>
        <pc:spChg chg="mod">
          <ac:chgData name="Rajat Taneja" userId="4ec436a0-470b-456a-af42-a15c99f1cebd" providerId="ADAL" clId="{3EA19806-CD64-4375-9EA7-939EDDB50E03}" dt="2022-04-06T01:41:24.509" v="772" actId="14100"/>
          <ac:spMkLst>
            <pc:docMk/>
            <pc:sldMk cId="658632293" sldId="2147375115"/>
            <ac:spMk id="204" creationId="{C1B945F5-BD74-48EC-B5FE-B03447052DB0}"/>
          </ac:spMkLst>
        </pc:spChg>
        <pc:spChg chg="mod">
          <ac:chgData name="Rajat Taneja" userId="4ec436a0-470b-456a-af42-a15c99f1cebd" providerId="ADAL" clId="{3EA19806-CD64-4375-9EA7-939EDDB50E03}" dt="2022-04-06T01:41:24.509" v="772" actId="14100"/>
          <ac:spMkLst>
            <pc:docMk/>
            <pc:sldMk cId="658632293" sldId="2147375115"/>
            <ac:spMk id="205" creationId="{854CF635-DFFD-40E2-98CD-8D9B3F64A1EB}"/>
          </ac:spMkLst>
        </pc:spChg>
        <pc:spChg chg="mod">
          <ac:chgData name="Rajat Taneja" userId="4ec436a0-470b-456a-af42-a15c99f1cebd" providerId="ADAL" clId="{3EA19806-CD64-4375-9EA7-939EDDB50E03}" dt="2022-04-06T01:41:24.509" v="772" actId="14100"/>
          <ac:spMkLst>
            <pc:docMk/>
            <pc:sldMk cId="658632293" sldId="2147375115"/>
            <ac:spMk id="206" creationId="{228C0476-4999-4716-88F6-B55C18D1746C}"/>
          </ac:spMkLst>
        </pc:spChg>
        <pc:spChg chg="mod">
          <ac:chgData name="Rajat Taneja" userId="4ec436a0-470b-456a-af42-a15c99f1cebd" providerId="ADAL" clId="{3EA19806-CD64-4375-9EA7-939EDDB50E03}" dt="2022-04-06T01:41:24.509" v="772" actId="14100"/>
          <ac:spMkLst>
            <pc:docMk/>
            <pc:sldMk cId="658632293" sldId="2147375115"/>
            <ac:spMk id="207" creationId="{2A3A42B5-1B6C-43A5-ABEC-41FCB45077F7}"/>
          </ac:spMkLst>
        </pc:spChg>
        <pc:spChg chg="mod">
          <ac:chgData name="Rajat Taneja" userId="4ec436a0-470b-456a-af42-a15c99f1cebd" providerId="ADAL" clId="{3EA19806-CD64-4375-9EA7-939EDDB50E03}" dt="2022-04-06T01:41:24.509" v="772" actId="14100"/>
          <ac:spMkLst>
            <pc:docMk/>
            <pc:sldMk cId="658632293" sldId="2147375115"/>
            <ac:spMk id="208" creationId="{9629A7B7-790D-4E3F-917E-059F47A08A7E}"/>
          </ac:spMkLst>
        </pc:spChg>
        <pc:spChg chg="mod">
          <ac:chgData name="Rajat Taneja" userId="4ec436a0-470b-456a-af42-a15c99f1cebd" providerId="ADAL" clId="{3EA19806-CD64-4375-9EA7-939EDDB50E03}" dt="2022-04-06T01:41:24.509" v="772" actId="14100"/>
          <ac:spMkLst>
            <pc:docMk/>
            <pc:sldMk cId="658632293" sldId="2147375115"/>
            <ac:spMk id="209" creationId="{EA3F8BA5-165D-473E-83AD-526697D69E2C}"/>
          </ac:spMkLst>
        </pc:spChg>
        <pc:spChg chg="mod">
          <ac:chgData name="Rajat Taneja" userId="4ec436a0-470b-456a-af42-a15c99f1cebd" providerId="ADAL" clId="{3EA19806-CD64-4375-9EA7-939EDDB50E03}" dt="2022-04-06T01:41:24.509" v="772" actId="14100"/>
          <ac:spMkLst>
            <pc:docMk/>
            <pc:sldMk cId="658632293" sldId="2147375115"/>
            <ac:spMk id="210" creationId="{69D3938C-E4CB-4995-B564-B6E0761AF10F}"/>
          </ac:spMkLst>
        </pc:spChg>
        <pc:spChg chg="mod">
          <ac:chgData name="Rajat Taneja" userId="4ec436a0-470b-456a-af42-a15c99f1cebd" providerId="ADAL" clId="{3EA19806-CD64-4375-9EA7-939EDDB50E03}" dt="2022-04-06T01:41:24.509" v="772" actId="14100"/>
          <ac:spMkLst>
            <pc:docMk/>
            <pc:sldMk cId="658632293" sldId="2147375115"/>
            <ac:spMk id="211" creationId="{B014E15E-B061-40F2-8E75-544A9632D794}"/>
          </ac:spMkLst>
        </pc:spChg>
        <pc:spChg chg="mod">
          <ac:chgData name="Rajat Taneja" userId="4ec436a0-470b-456a-af42-a15c99f1cebd" providerId="ADAL" clId="{3EA19806-CD64-4375-9EA7-939EDDB50E03}" dt="2022-04-06T01:41:24.509" v="772" actId="14100"/>
          <ac:spMkLst>
            <pc:docMk/>
            <pc:sldMk cId="658632293" sldId="2147375115"/>
            <ac:spMk id="212" creationId="{6860695E-0DA1-49BD-B989-16BBB85DB942}"/>
          </ac:spMkLst>
        </pc:spChg>
        <pc:spChg chg="mod">
          <ac:chgData name="Rajat Taneja" userId="4ec436a0-470b-456a-af42-a15c99f1cebd" providerId="ADAL" clId="{3EA19806-CD64-4375-9EA7-939EDDB50E03}" dt="2022-04-06T01:41:24.509" v="772" actId="14100"/>
          <ac:spMkLst>
            <pc:docMk/>
            <pc:sldMk cId="658632293" sldId="2147375115"/>
            <ac:spMk id="213" creationId="{FCECDF34-E080-41AE-A57F-BDD0F13B8EA1}"/>
          </ac:spMkLst>
        </pc:spChg>
        <pc:spChg chg="mod">
          <ac:chgData name="Rajat Taneja" userId="4ec436a0-470b-456a-af42-a15c99f1cebd" providerId="ADAL" clId="{3EA19806-CD64-4375-9EA7-939EDDB50E03}" dt="2022-04-06T01:41:24.509" v="772" actId="14100"/>
          <ac:spMkLst>
            <pc:docMk/>
            <pc:sldMk cId="658632293" sldId="2147375115"/>
            <ac:spMk id="214" creationId="{B6B7A68E-5E58-4870-85E7-C3207DEB7B41}"/>
          </ac:spMkLst>
        </pc:spChg>
        <pc:spChg chg="mod">
          <ac:chgData name="Rajat Taneja" userId="4ec436a0-470b-456a-af42-a15c99f1cebd" providerId="ADAL" clId="{3EA19806-CD64-4375-9EA7-939EDDB50E03}" dt="2022-04-06T01:41:24.509" v="772" actId="14100"/>
          <ac:spMkLst>
            <pc:docMk/>
            <pc:sldMk cId="658632293" sldId="2147375115"/>
            <ac:spMk id="215" creationId="{19840563-1F05-4EAB-B4BA-4355613F4936}"/>
          </ac:spMkLst>
        </pc:spChg>
        <pc:spChg chg="mod">
          <ac:chgData name="Rajat Taneja" userId="4ec436a0-470b-456a-af42-a15c99f1cebd" providerId="ADAL" clId="{3EA19806-CD64-4375-9EA7-939EDDB50E03}" dt="2022-04-06T01:41:24.509" v="772" actId="14100"/>
          <ac:spMkLst>
            <pc:docMk/>
            <pc:sldMk cId="658632293" sldId="2147375115"/>
            <ac:spMk id="216" creationId="{39ADF5FD-293C-4362-8811-D9742D5E0D6F}"/>
          </ac:spMkLst>
        </pc:spChg>
        <pc:spChg chg="mod">
          <ac:chgData name="Rajat Taneja" userId="4ec436a0-470b-456a-af42-a15c99f1cebd" providerId="ADAL" clId="{3EA19806-CD64-4375-9EA7-939EDDB50E03}" dt="2022-04-06T01:41:24.509" v="772" actId="14100"/>
          <ac:spMkLst>
            <pc:docMk/>
            <pc:sldMk cId="658632293" sldId="2147375115"/>
            <ac:spMk id="217" creationId="{7FEA40B5-6DBF-412C-BDEC-C4A069A2A009}"/>
          </ac:spMkLst>
        </pc:spChg>
        <pc:spChg chg="mod">
          <ac:chgData name="Rajat Taneja" userId="4ec436a0-470b-456a-af42-a15c99f1cebd" providerId="ADAL" clId="{3EA19806-CD64-4375-9EA7-939EDDB50E03}" dt="2022-04-06T01:41:24.509" v="772" actId="14100"/>
          <ac:spMkLst>
            <pc:docMk/>
            <pc:sldMk cId="658632293" sldId="2147375115"/>
            <ac:spMk id="218" creationId="{36BF2DF0-380E-407D-8F11-AE66F2A8FCEE}"/>
          </ac:spMkLst>
        </pc:spChg>
        <pc:spChg chg="mod">
          <ac:chgData name="Rajat Taneja" userId="4ec436a0-470b-456a-af42-a15c99f1cebd" providerId="ADAL" clId="{3EA19806-CD64-4375-9EA7-939EDDB50E03}" dt="2022-04-06T01:41:24.509" v="772" actId="14100"/>
          <ac:spMkLst>
            <pc:docMk/>
            <pc:sldMk cId="658632293" sldId="2147375115"/>
            <ac:spMk id="219" creationId="{1EB21677-9E1C-4057-973A-0D3FBBBB045C}"/>
          </ac:spMkLst>
        </pc:spChg>
        <pc:spChg chg="mod">
          <ac:chgData name="Rajat Taneja" userId="4ec436a0-470b-456a-af42-a15c99f1cebd" providerId="ADAL" clId="{3EA19806-CD64-4375-9EA7-939EDDB50E03}" dt="2022-04-06T01:41:24.509" v="772" actId="14100"/>
          <ac:spMkLst>
            <pc:docMk/>
            <pc:sldMk cId="658632293" sldId="2147375115"/>
            <ac:spMk id="220" creationId="{BC55763D-2264-4BE2-A301-7A7E75EB27F4}"/>
          </ac:spMkLst>
        </pc:spChg>
        <pc:spChg chg="mod">
          <ac:chgData name="Rajat Taneja" userId="4ec436a0-470b-456a-af42-a15c99f1cebd" providerId="ADAL" clId="{3EA19806-CD64-4375-9EA7-939EDDB50E03}" dt="2022-04-06T01:41:24.509" v="772" actId="14100"/>
          <ac:spMkLst>
            <pc:docMk/>
            <pc:sldMk cId="658632293" sldId="2147375115"/>
            <ac:spMk id="221" creationId="{243A9F95-6782-4A99-94A6-6AD0B823A028}"/>
          </ac:spMkLst>
        </pc:spChg>
        <pc:spChg chg="mod">
          <ac:chgData name="Rajat Taneja" userId="4ec436a0-470b-456a-af42-a15c99f1cebd" providerId="ADAL" clId="{3EA19806-CD64-4375-9EA7-939EDDB50E03}" dt="2022-04-06T01:41:24.509" v="772" actId="14100"/>
          <ac:spMkLst>
            <pc:docMk/>
            <pc:sldMk cId="658632293" sldId="2147375115"/>
            <ac:spMk id="222" creationId="{E7A61603-12D4-403D-AB60-B9F82001D1CD}"/>
          </ac:spMkLst>
        </pc:spChg>
        <pc:spChg chg="mod">
          <ac:chgData name="Rajat Taneja" userId="4ec436a0-470b-456a-af42-a15c99f1cebd" providerId="ADAL" clId="{3EA19806-CD64-4375-9EA7-939EDDB50E03}" dt="2022-04-06T01:41:24.509" v="772" actId="14100"/>
          <ac:spMkLst>
            <pc:docMk/>
            <pc:sldMk cId="658632293" sldId="2147375115"/>
            <ac:spMk id="223" creationId="{E0E62914-28A4-4E8F-8896-C76698894DBF}"/>
          </ac:spMkLst>
        </pc:spChg>
        <pc:spChg chg="mod">
          <ac:chgData name="Rajat Taneja" userId="4ec436a0-470b-456a-af42-a15c99f1cebd" providerId="ADAL" clId="{3EA19806-CD64-4375-9EA7-939EDDB50E03}" dt="2022-04-06T01:41:24.509" v="772" actId="14100"/>
          <ac:spMkLst>
            <pc:docMk/>
            <pc:sldMk cId="658632293" sldId="2147375115"/>
            <ac:spMk id="224" creationId="{548DE586-377B-46A8-969F-DD0B4B25DFAF}"/>
          </ac:spMkLst>
        </pc:spChg>
        <pc:spChg chg="mod">
          <ac:chgData name="Rajat Taneja" userId="4ec436a0-470b-456a-af42-a15c99f1cebd" providerId="ADAL" clId="{3EA19806-CD64-4375-9EA7-939EDDB50E03}" dt="2022-04-06T01:41:24.509" v="772" actId="14100"/>
          <ac:spMkLst>
            <pc:docMk/>
            <pc:sldMk cId="658632293" sldId="2147375115"/>
            <ac:spMk id="225" creationId="{2C426155-493F-4469-B2DB-145AC7F4A906}"/>
          </ac:spMkLst>
        </pc:spChg>
        <pc:spChg chg="mod">
          <ac:chgData name="Rajat Taneja" userId="4ec436a0-470b-456a-af42-a15c99f1cebd" providerId="ADAL" clId="{3EA19806-CD64-4375-9EA7-939EDDB50E03}" dt="2022-04-06T01:41:24.509" v="772" actId="14100"/>
          <ac:spMkLst>
            <pc:docMk/>
            <pc:sldMk cId="658632293" sldId="2147375115"/>
            <ac:spMk id="226" creationId="{488A59D8-345C-4097-892E-DD243D00A208}"/>
          </ac:spMkLst>
        </pc:spChg>
        <pc:spChg chg="mod">
          <ac:chgData name="Rajat Taneja" userId="4ec436a0-470b-456a-af42-a15c99f1cebd" providerId="ADAL" clId="{3EA19806-CD64-4375-9EA7-939EDDB50E03}" dt="2022-04-06T01:41:24.509" v="772" actId="14100"/>
          <ac:spMkLst>
            <pc:docMk/>
            <pc:sldMk cId="658632293" sldId="2147375115"/>
            <ac:spMk id="227" creationId="{0B44B414-7A72-4748-9364-6E2967FAC35F}"/>
          </ac:spMkLst>
        </pc:spChg>
        <pc:spChg chg="mod">
          <ac:chgData name="Rajat Taneja" userId="4ec436a0-470b-456a-af42-a15c99f1cebd" providerId="ADAL" clId="{3EA19806-CD64-4375-9EA7-939EDDB50E03}" dt="2022-04-06T01:41:24.509" v="772" actId="14100"/>
          <ac:spMkLst>
            <pc:docMk/>
            <pc:sldMk cId="658632293" sldId="2147375115"/>
            <ac:spMk id="228" creationId="{FF3B6320-6331-414C-8D54-BA7AE4A7B148}"/>
          </ac:spMkLst>
        </pc:spChg>
        <pc:spChg chg="mod">
          <ac:chgData name="Rajat Taneja" userId="4ec436a0-470b-456a-af42-a15c99f1cebd" providerId="ADAL" clId="{3EA19806-CD64-4375-9EA7-939EDDB50E03}" dt="2022-04-06T01:41:24.509" v="772" actId="14100"/>
          <ac:spMkLst>
            <pc:docMk/>
            <pc:sldMk cId="658632293" sldId="2147375115"/>
            <ac:spMk id="229" creationId="{AD8F031F-1402-48BD-AC50-3BE9D3C43C14}"/>
          </ac:spMkLst>
        </pc:spChg>
        <pc:spChg chg="mod">
          <ac:chgData name="Rajat Taneja" userId="4ec436a0-470b-456a-af42-a15c99f1cebd" providerId="ADAL" clId="{3EA19806-CD64-4375-9EA7-939EDDB50E03}" dt="2022-04-06T01:41:24.509" v="772" actId="14100"/>
          <ac:spMkLst>
            <pc:docMk/>
            <pc:sldMk cId="658632293" sldId="2147375115"/>
            <ac:spMk id="230" creationId="{0149F5F3-E4B8-43ED-9777-85584133A8D4}"/>
          </ac:spMkLst>
        </pc:spChg>
        <pc:spChg chg="mod">
          <ac:chgData name="Rajat Taneja" userId="4ec436a0-470b-456a-af42-a15c99f1cebd" providerId="ADAL" clId="{3EA19806-CD64-4375-9EA7-939EDDB50E03}" dt="2022-04-06T01:41:24.509" v="772" actId="14100"/>
          <ac:spMkLst>
            <pc:docMk/>
            <pc:sldMk cId="658632293" sldId="2147375115"/>
            <ac:spMk id="231" creationId="{B2E7619E-B07F-46BF-A8EB-BDD61B6B545B}"/>
          </ac:spMkLst>
        </pc:spChg>
        <pc:spChg chg="mod">
          <ac:chgData name="Rajat Taneja" userId="4ec436a0-470b-456a-af42-a15c99f1cebd" providerId="ADAL" clId="{3EA19806-CD64-4375-9EA7-939EDDB50E03}" dt="2022-04-06T01:41:24.509" v="772" actId="14100"/>
          <ac:spMkLst>
            <pc:docMk/>
            <pc:sldMk cId="658632293" sldId="2147375115"/>
            <ac:spMk id="232" creationId="{81EDD9EB-4A41-42BA-8850-75C0321D37AE}"/>
          </ac:spMkLst>
        </pc:spChg>
        <pc:spChg chg="mod">
          <ac:chgData name="Rajat Taneja" userId="4ec436a0-470b-456a-af42-a15c99f1cebd" providerId="ADAL" clId="{3EA19806-CD64-4375-9EA7-939EDDB50E03}" dt="2022-04-06T01:41:24.509" v="772" actId="14100"/>
          <ac:spMkLst>
            <pc:docMk/>
            <pc:sldMk cId="658632293" sldId="2147375115"/>
            <ac:spMk id="233" creationId="{EF9F6205-FF57-44BC-9120-D7C52FBD8AE2}"/>
          </ac:spMkLst>
        </pc:spChg>
        <pc:spChg chg="mod">
          <ac:chgData name="Rajat Taneja" userId="4ec436a0-470b-456a-af42-a15c99f1cebd" providerId="ADAL" clId="{3EA19806-CD64-4375-9EA7-939EDDB50E03}" dt="2022-04-06T01:41:24.509" v="772" actId="14100"/>
          <ac:spMkLst>
            <pc:docMk/>
            <pc:sldMk cId="658632293" sldId="2147375115"/>
            <ac:spMk id="234" creationId="{E6A09D8F-382C-4B12-A259-006B8BC579AB}"/>
          </ac:spMkLst>
        </pc:spChg>
        <pc:spChg chg="mod">
          <ac:chgData name="Rajat Taneja" userId="4ec436a0-470b-456a-af42-a15c99f1cebd" providerId="ADAL" clId="{3EA19806-CD64-4375-9EA7-939EDDB50E03}" dt="2022-04-06T01:41:24.509" v="772" actId="14100"/>
          <ac:spMkLst>
            <pc:docMk/>
            <pc:sldMk cId="658632293" sldId="2147375115"/>
            <ac:spMk id="235" creationId="{ED94DA69-5816-4EDC-9548-0734F2901C41}"/>
          </ac:spMkLst>
        </pc:spChg>
        <pc:spChg chg="mod">
          <ac:chgData name="Rajat Taneja" userId="4ec436a0-470b-456a-af42-a15c99f1cebd" providerId="ADAL" clId="{3EA19806-CD64-4375-9EA7-939EDDB50E03}" dt="2022-04-06T01:41:24.509" v="772" actId="14100"/>
          <ac:spMkLst>
            <pc:docMk/>
            <pc:sldMk cId="658632293" sldId="2147375115"/>
            <ac:spMk id="236" creationId="{16A1D141-F4A4-48F1-A5F8-5E9EB097794C}"/>
          </ac:spMkLst>
        </pc:spChg>
        <pc:spChg chg="mod">
          <ac:chgData name="Rajat Taneja" userId="4ec436a0-470b-456a-af42-a15c99f1cebd" providerId="ADAL" clId="{3EA19806-CD64-4375-9EA7-939EDDB50E03}" dt="2022-04-06T01:41:24.509" v="772" actId="14100"/>
          <ac:spMkLst>
            <pc:docMk/>
            <pc:sldMk cId="658632293" sldId="2147375115"/>
            <ac:spMk id="237" creationId="{43333D32-6072-4B3D-BA63-D1930BAE7979}"/>
          </ac:spMkLst>
        </pc:spChg>
        <pc:spChg chg="mod">
          <ac:chgData name="Rajat Taneja" userId="4ec436a0-470b-456a-af42-a15c99f1cebd" providerId="ADAL" clId="{3EA19806-CD64-4375-9EA7-939EDDB50E03}" dt="2022-04-06T01:41:24.509" v="772" actId="14100"/>
          <ac:spMkLst>
            <pc:docMk/>
            <pc:sldMk cId="658632293" sldId="2147375115"/>
            <ac:spMk id="238" creationId="{A47AD3BE-C355-4CE0-8A8F-71A1A8C466D9}"/>
          </ac:spMkLst>
        </pc:spChg>
        <pc:spChg chg="mod">
          <ac:chgData name="Rajat Taneja" userId="4ec436a0-470b-456a-af42-a15c99f1cebd" providerId="ADAL" clId="{3EA19806-CD64-4375-9EA7-939EDDB50E03}" dt="2022-04-06T01:41:24.509" v="772" actId="14100"/>
          <ac:spMkLst>
            <pc:docMk/>
            <pc:sldMk cId="658632293" sldId="2147375115"/>
            <ac:spMk id="239" creationId="{3CC36216-845D-4A2F-9AAC-AC70CB689F2D}"/>
          </ac:spMkLst>
        </pc:spChg>
        <pc:spChg chg="mod">
          <ac:chgData name="Rajat Taneja" userId="4ec436a0-470b-456a-af42-a15c99f1cebd" providerId="ADAL" clId="{3EA19806-CD64-4375-9EA7-939EDDB50E03}" dt="2022-04-06T01:41:24.509" v="772" actId="14100"/>
          <ac:spMkLst>
            <pc:docMk/>
            <pc:sldMk cId="658632293" sldId="2147375115"/>
            <ac:spMk id="240" creationId="{EE6E89EB-DEB5-475F-9783-774B27B80E76}"/>
          </ac:spMkLst>
        </pc:spChg>
        <pc:spChg chg="mod">
          <ac:chgData name="Rajat Taneja" userId="4ec436a0-470b-456a-af42-a15c99f1cebd" providerId="ADAL" clId="{3EA19806-CD64-4375-9EA7-939EDDB50E03}" dt="2022-04-06T01:41:24.509" v="772" actId="14100"/>
          <ac:spMkLst>
            <pc:docMk/>
            <pc:sldMk cId="658632293" sldId="2147375115"/>
            <ac:spMk id="241" creationId="{F8F8E508-8E7A-4B7F-87A9-9ADED28AF3E2}"/>
          </ac:spMkLst>
        </pc:spChg>
        <pc:spChg chg="mod">
          <ac:chgData name="Rajat Taneja" userId="4ec436a0-470b-456a-af42-a15c99f1cebd" providerId="ADAL" clId="{3EA19806-CD64-4375-9EA7-939EDDB50E03}" dt="2022-04-06T01:41:24.509" v="772" actId="14100"/>
          <ac:spMkLst>
            <pc:docMk/>
            <pc:sldMk cId="658632293" sldId="2147375115"/>
            <ac:spMk id="242" creationId="{57A1B234-BB81-48B8-B549-EA15E42E963C}"/>
          </ac:spMkLst>
        </pc:spChg>
        <pc:spChg chg="mod">
          <ac:chgData name="Rajat Taneja" userId="4ec436a0-470b-456a-af42-a15c99f1cebd" providerId="ADAL" clId="{3EA19806-CD64-4375-9EA7-939EDDB50E03}" dt="2022-04-06T01:41:24.509" v="772" actId="14100"/>
          <ac:spMkLst>
            <pc:docMk/>
            <pc:sldMk cId="658632293" sldId="2147375115"/>
            <ac:spMk id="243" creationId="{FFB7427D-2C7B-4B0C-94EA-44084A735A69}"/>
          </ac:spMkLst>
        </pc:spChg>
        <pc:spChg chg="mod">
          <ac:chgData name="Rajat Taneja" userId="4ec436a0-470b-456a-af42-a15c99f1cebd" providerId="ADAL" clId="{3EA19806-CD64-4375-9EA7-939EDDB50E03}" dt="2022-04-06T01:41:24.509" v="772" actId="14100"/>
          <ac:spMkLst>
            <pc:docMk/>
            <pc:sldMk cId="658632293" sldId="2147375115"/>
            <ac:spMk id="244" creationId="{7CDE594D-9863-4F3E-B4AE-7C60D3CFE4CF}"/>
          </ac:spMkLst>
        </pc:spChg>
        <pc:spChg chg="mod">
          <ac:chgData name="Rajat Taneja" userId="4ec436a0-470b-456a-af42-a15c99f1cebd" providerId="ADAL" clId="{3EA19806-CD64-4375-9EA7-939EDDB50E03}" dt="2022-04-06T01:41:24.509" v="772" actId="14100"/>
          <ac:spMkLst>
            <pc:docMk/>
            <pc:sldMk cId="658632293" sldId="2147375115"/>
            <ac:spMk id="245" creationId="{1E6029E0-0C26-4412-A613-F78FD0BD4418}"/>
          </ac:spMkLst>
        </pc:spChg>
        <pc:spChg chg="mod">
          <ac:chgData name="Rajat Taneja" userId="4ec436a0-470b-456a-af42-a15c99f1cebd" providerId="ADAL" clId="{3EA19806-CD64-4375-9EA7-939EDDB50E03}" dt="2022-04-06T01:41:24.509" v="772" actId="14100"/>
          <ac:spMkLst>
            <pc:docMk/>
            <pc:sldMk cId="658632293" sldId="2147375115"/>
            <ac:spMk id="246" creationId="{C3634FAB-57B5-4FB7-882B-A6385D79E0B7}"/>
          </ac:spMkLst>
        </pc:spChg>
        <pc:spChg chg="mod">
          <ac:chgData name="Rajat Taneja" userId="4ec436a0-470b-456a-af42-a15c99f1cebd" providerId="ADAL" clId="{3EA19806-CD64-4375-9EA7-939EDDB50E03}" dt="2022-04-06T01:41:24.509" v="772" actId="14100"/>
          <ac:spMkLst>
            <pc:docMk/>
            <pc:sldMk cId="658632293" sldId="2147375115"/>
            <ac:spMk id="247" creationId="{8BFA1D59-9A40-4FA2-AFCD-3337353C7CD6}"/>
          </ac:spMkLst>
        </pc:spChg>
        <pc:spChg chg="mod">
          <ac:chgData name="Rajat Taneja" userId="4ec436a0-470b-456a-af42-a15c99f1cebd" providerId="ADAL" clId="{3EA19806-CD64-4375-9EA7-939EDDB50E03}" dt="2022-04-06T01:41:24.509" v="772" actId="14100"/>
          <ac:spMkLst>
            <pc:docMk/>
            <pc:sldMk cId="658632293" sldId="2147375115"/>
            <ac:spMk id="248" creationId="{E1E568C9-8F20-4FAB-A762-3AD53D2DE956}"/>
          </ac:spMkLst>
        </pc:spChg>
        <pc:spChg chg="mod">
          <ac:chgData name="Rajat Taneja" userId="4ec436a0-470b-456a-af42-a15c99f1cebd" providerId="ADAL" clId="{3EA19806-CD64-4375-9EA7-939EDDB50E03}" dt="2022-04-06T01:41:24.509" v="772" actId="14100"/>
          <ac:spMkLst>
            <pc:docMk/>
            <pc:sldMk cId="658632293" sldId="2147375115"/>
            <ac:spMk id="249" creationId="{00466549-0B5C-476E-9E85-ED96AB8C9542}"/>
          </ac:spMkLst>
        </pc:spChg>
        <pc:spChg chg="mod">
          <ac:chgData name="Rajat Taneja" userId="4ec436a0-470b-456a-af42-a15c99f1cebd" providerId="ADAL" clId="{3EA19806-CD64-4375-9EA7-939EDDB50E03}" dt="2022-04-06T01:41:24.509" v="772" actId="14100"/>
          <ac:spMkLst>
            <pc:docMk/>
            <pc:sldMk cId="658632293" sldId="2147375115"/>
            <ac:spMk id="250" creationId="{DB65E495-97A9-4C7C-8EB2-7191E8304164}"/>
          </ac:spMkLst>
        </pc:spChg>
        <pc:spChg chg="mod">
          <ac:chgData name="Rajat Taneja" userId="4ec436a0-470b-456a-af42-a15c99f1cebd" providerId="ADAL" clId="{3EA19806-CD64-4375-9EA7-939EDDB50E03}" dt="2022-04-06T01:41:24.509" v="772" actId="14100"/>
          <ac:spMkLst>
            <pc:docMk/>
            <pc:sldMk cId="658632293" sldId="2147375115"/>
            <ac:spMk id="251" creationId="{7F3D89BE-3CDF-4908-BEFE-BC9498DC5223}"/>
          </ac:spMkLst>
        </pc:spChg>
        <pc:spChg chg="mod">
          <ac:chgData name="Rajat Taneja" userId="4ec436a0-470b-456a-af42-a15c99f1cebd" providerId="ADAL" clId="{3EA19806-CD64-4375-9EA7-939EDDB50E03}" dt="2022-04-06T01:41:24.509" v="772" actId="14100"/>
          <ac:spMkLst>
            <pc:docMk/>
            <pc:sldMk cId="658632293" sldId="2147375115"/>
            <ac:spMk id="252" creationId="{B75514A4-B004-4063-A384-45CA7A1B7513}"/>
          </ac:spMkLst>
        </pc:spChg>
        <pc:spChg chg="mod">
          <ac:chgData name="Rajat Taneja" userId="4ec436a0-470b-456a-af42-a15c99f1cebd" providerId="ADAL" clId="{3EA19806-CD64-4375-9EA7-939EDDB50E03}" dt="2022-04-06T01:41:24.509" v="772" actId="14100"/>
          <ac:spMkLst>
            <pc:docMk/>
            <pc:sldMk cId="658632293" sldId="2147375115"/>
            <ac:spMk id="253" creationId="{6BDDA290-8163-4970-BA4B-E0101D9E5BC7}"/>
          </ac:spMkLst>
        </pc:spChg>
        <pc:spChg chg="mod">
          <ac:chgData name="Rajat Taneja" userId="4ec436a0-470b-456a-af42-a15c99f1cebd" providerId="ADAL" clId="{3EA19806-CD64-4375-9EA7-939EDDB50E03}" dt="2022-04-06T01:41:24.509" v="772" actId="14100"/>
          <ac:spMkLst>
            <pc:docMk/>
            <pc:sldMk cId="658632293" sldId="2147375115"/>
            <ac:spMk id="254" creationId="{DBBD6092-3A7A-40AB-84D2-07903E683288}"/>
          </ac:spMkLst>
        </pc:spChg>
        <pc:spChg chg="mod">
          <ac:chgData name="Rajat Taneja" userId="4ec436a0-470b-456a-af42-a15c99f1cebd" providerId="ADAL" clId="{3EA19806-CD64-4375-9EA7-939EDDB50E03}" dt="2022-04-06T01:41:24.509" v="772" actId="14100"/>
          <ac:spMkLst>
            <pc:docMk/>
            <pc:sldMk cId="658632293" sldId="2147375115"/>
            <ac:spMk id="255" creationId="{BFEB9964-110E-439E-923E-141BE47C31FE}"/>
          </ac:spMkLst>
        </pc:spChg>
        <pc:spChg chg="mod">
          <ac:chgData name="Rajat Taneja" userId="4ec436a0-470b-456a-af42-a15c99f1cebd" providerId="ADAL" clId="{3EA19806-CD64-4375-9EA7-939EDDB50E03}" dt="2022-04-06T01:41:24.509" v="772" actId="14100"/>
          <ac:spMkLst>
            <pc:docMk/>
            <pc:sldMk cId="658632293" sldId="2147375115"/>
            <ac:spMk id="256" creationId="{CD6CB042-5420-48B3-9C2D-67F13C974A97}"/>
          </ac:spMkLst>
        </pc:spChg>
        <pc:spChg chg="mod">
          <ac:chgData name="Rajat Taneja" userId="4ec436a0-470b-456a-af42-a15c99f1cebd" providerId="ADAL" clId="{3EA19806-CD64-4375-9EA7-939EDDB50E03}" dt="2022-04-06T01:41:24.509" v="772" actId="14100"/>
          <ac:spMkLst>
            <pc:docMk/>
            <pc:sldMk cId="658632293" sldId="2147375115"/>
            <ac:spMk id="257" creationId="{252B12D3-B6A7-46CD-9C23-50AD46023709}"/>
          </ac:spMkLst>
        </pc:spChg>
        <pc:spChg chg="mod">
          <ac:chgData name="Rajat Taneja" userId="4ec436a0-470b-456a-af42-a15c99f1cebd" providerId="ADAL" clId="{3EA19806-CD64-4375-9EA7-939EDDB50E03}" dt="2022-04-06T01:41:24.509" v="772" actId="14100"/>
          <ac:spMkLst>
            <pc:docMk/>
            <pc:sldMk cId="658632293" sldId="2147375115"/>
            <ac:spMk id="258" creationId="{F44839F6-8E68-421C-BA16-69CFBC524D70}"/>
          </ac:spMkLst>
        </pc:spChg>
        <pc:spChg chg="mod">
          <ac:chgData name="Rajat Taneja" userId="4ec436a0-470b-456a-af42-a15c99f1cebd" providerId="ADAL" clId="{3EA19806-CD64-4375-9EA7-939EDDB50E03}" dt="2022-04-06T01:41:24.509" v="772" actId="14100"/>
          <ac:spMkLst>
            <pc:docMk/>
            <pc:sldMk cId="658632293" sldId="2147375115"/>
            <ac:spMk id="259" creationId="{E8AA405F-C4F1-4E2C-8164-804D78594A41}"/>
          </ac:spMkLst>
        </pc:spChg>
        <pc:spChg chg="mod">
          <ac:chgData name="Rajat Taneja" userId="4ec436a0-470b-456a-af42-a15c99f1cebd" providerId="ADAL" clId="{3EA19806-CD64-4375-9EA7-939EDDB50E03}" dt="2022-04-06T01:41:24.509" v="772" actId="14100"/>
          <ac:spMkLst>
            <pc:docMk/>
            <pc:sldMk cId="658632293" sldId="2147375115"/>
            <ac:spMk id="260" creationId="{B664F348-6BC4-403C-A0DD-21723FE0D3C3}"/>
          </ac:spMkLst>
        </pc:spChg>
        <pc:spChg chg="mod">
          <ac:chgData name="Rajat Taneja" userId="4ec436a0-470b-456a-af42-a15c99f1cebd" providerId="ADAL" clId="{3EA19806-CD64-4375-9EA7-939EDDB50E03}" dt="2022-04-06T01:41:24.509" v="772" actId="14100"/>
          <ac:spMkLst>
            <pc:docMk/>
            <pc:sldMk cId="658632293" sldId="2147375115"/>
            <ac:spMk id="261" creationId="{DC07D21F-2040-4FA6-9ECC-B22F21D3A92D}"/>
          </ac:spMkLst>
        </pc:spChg>
        <pc:spChg chg="mod">
          <ac:chgData name="Rajat Taneja" userId="4ec436a0-470b-456a-af42-a15c99f1cebd" providerId="ADAL" clId="{3EA19806-CD64-4375-9EA7-939EDDB50E03}" dt="2022-04-06T01:41:24.509" v="772" actId="14100"/>
          <ac:spMkLst>
            <pc:docMk/>
            <pc:sldMk cId="658632293" sldId="2147375115"/>
            <ac:spMk id="262" creationId="{92C0CFAC-EB0A-45EA-8AC6-CA70F9B61B80}"/>
          </ac:spMkLst>
        </pc:spChg>
        <pc:spChg chg="mod">
          <ac:chgData name="Rajat Taneja" userId="4ec436a0-470b-456a-af42-a15c99f1cebd" providerId="ADAL" clId="{3EA19806-CD64-4375-9EA7-939EDDB50E03}" dt="2022-04-06T01:41:24.509" v="772" actId="14100"/>
          <ac:spMkLst>
            <pc:docMk/>
            <pc:sldMk cId="658632293" sldId="2147375115"/>
            <ac:spMk id="263" creationId="{BAC457A3-D6BA-4675-91F3-63857B01C734}"/>
          </ac:spMkLst>
        </pc:spChg>
        <pc:spChg chg="mod">
          <ac:chgData name="Rajat Taneja" userId="4ec436a0-470b-456a-af42-a15c99f1cebd" providerId="ADAL" clId="{3EA19806-CD64-4375-9EA7-939EDDB50E03}" dt="2022-04-06T01:41:24.509" v="772" actId="14100"/>
          <ac:spMkLst>
            <pc:docMk/>
            <pc:sldMk cId="658632293" sldId="2147375115"/>
            <ac:spMk id="264" creationId="{4BC6AAA1-D1E5-4580-8934-BAEEB70417BF}"/>
          </ac:spMkLst>
        </pc:spChg>
        <pc:spChg chg="mod">
          <ac:chgData name="Rajat Taneja" userId="4ec436a0-470b-456a-af42-a15c99f1cebd" providerId="ADAL" clId="{3EA19806-CD64-4375-9EA7-939EDDB50E03}" dt="2022-04-06T01:41:24.509" v="772" actId="14100"/>
          <ac:spMkLst>
            <pc:docMk/>
            <pc:sldMk cId="658632293" sldId="2147375115"/>
            <ac:spMk id="265" creationId="{D3E1DDF8-400E-40ED-B61E-74CDF7F55648}"/>
          </ac:spMkLst>
        </pc:spChg>
        <pc:spChg chg="mod">
          <ac:chgData name="Rajat Taneja" userId="4ec436a0-470b-456a-af42-a15c99f1cebd" providerId="ADAL" clId="{3EA19806-CD64-4375-9EA7-939EDDB50E03}" dt="2022-04-06T01:41:24.509" v="772" actId="14100"/>
          <ac:spMkLst>
            <pc:docMk/>
            <pc:sldMk cId="658632293" sldId="2147375115"/>
            <ac:spMk id="266" creationId="{6BF21A9C-DC04-459C-8D67-CD1117326108}"/>
          </ac:spMkLst>
        </pc:spChg>
        <pc:spChg chg="mod">
          <ac:chgData name="Rajat Taneja" userId="4ec436a0-470b-456a-af42-a15c99f1cebd" providerId="ADAL" clId="{3EA19806-CD64-4375-9EA7-939EDDB50E03}" dt="2022-04-06T01:41:24.509" v="772" actId="14100"/>
          <ac:spMkLst>
            <pc:docMk/>
            <pc:sldMk cId="658632293" sldId="2147375115"/>
            <ac:spMk id="267" creationId="{09F9A034-ACD6-497C-8743-876FBBC047A3}"/>
          </ac:spMkLst>
        </pc:spChg>
        <pc:spChg chg="mod">
          <ac:chgData name="Rajat Taneja" userId="4ec436a0-470b-456a-af42-a15c99f1cebd" providerId="ADAL" clId="{3EA19806-CD64-4375-9EA7-939EDDB50E03}" dt="2022-04-06T01:41:24.509" v="772" actId="14100"/>
          <ac:spMkLst>
            <pc:docMk/>
            <pc:sldMk cId="658632293" sldId="2147375115"/>
            <ac:spMk id="268" creationId="{2051F2FC-A06F-45C8-866D-CB4B3F07E37F}"/>
          </ac:spMkLst>
        </pc:spChg>
        <pc:spChg chg="mod">
          <ac:chgData name="Rajat Taneja" userId="4ec436a0-470b-456a-af42-a15c99f1cebd" providerId="ADAL" clId="{3EA19806-CD64-4375-9EA7-939EDDB50E03}" dt="2022-04-06T01:41:24.509" v="772" actId="14100"/>
          <ac:spMkLst>
            <pc:docMk/>
            <pc:sldMk cId="658632293" sldId="2147375115"/>
            <ac:spMk id="269" creationId="{C09638C5-AF64-49F0-B1B2-88AF006B8F03}"/>
          </ac:spMkLst>
        </pc:spChg>
        <pc:spChg chg="mod">
          <ac:chgData name="Rajat Taneja" userId="4ec436a0-470b-456a-af42-a15c99f1cebd" providerId="ADAL" clId="{3EA19806-CD64-4375-9EA7-939EDDB50E03}" dt="2022-04-06T01:41:24.509" v="772" actId="14100"/>
          <ac:spMkLst>
            <pc:docMk/>
            <pc:sldMk cId="658632293" sldId="2147375115"/>
            <ac:spMk id="270" creationId="{7B4873D8-3D08-44C6-9092-93CC30121996}"/>
          </ac:spMkLst>
        </pc:spChg>
        <pc:spChg chg="mod">
          <ac:chgData name="Rajat Taneja" userId="4ec436a0-470b-456a-af42-a15c99f1cebd" providerId="ADAL" clId="{3EA19806-CD64-4375-9EA7-939EDDB50E03}" dt="2022-04-06T01:41:24.509" v="772" actId="14100"/>
          <ac:spMkLst>
            <pc:docMk/>
            <pc:sldMk cId="658632293" sldId="2147375115"/>
            <ac:spMk id="271" creationId="{22B72D14-4329-46AD-A43A-CE90F459737E}"/>
          </ac:spMkLst>
        </pc:spChg>
        <pc:spChg chg="mod">
          <ac:chgData name="Rajat Taneja" userId="4ec436a0-470b-456a-af42-a15c99f1cebd" providerId="ADAL" clId="{3EA19806-CD64-4375-9EA7-939EDDB50E03}" dt="2022-04-06T01:41:24.509" v="772" actId="14100"/>
          <ac:spMkLst>
            <pc:docMk/>
            <pc:sldMk cId="658632293" sldId="2147375115"/>
            <ac:spMk id="272" creationId="{07233096-A880-407B-866D-FDA89DB68288}"/>
          </ac:spMkLst>
        </pc:spChg>
        <pc:spChg chg="mod">
          <ac:chgData name="Rajat Taneja" userId="4ec436a0-470b-456a-af42-a15c99f1cebd" providerId="ADAL" clId="{3EA19806-CD64-4375-9EA7-939EDDB50E03}" dt="2022-04-06T01:41:24.509" v="772" actId="14100"/>
          <ac:spMkLst>
            <pc:docMk/>
            <pc:sldMk cId="658632293" sldId="2147375115"/>
            <ac:spMk id="273" creationId="{0E68060C-97D0-45B2-A571-867DFD48F69F}"/>
          </ac:spMkLst>
        </pc:spChg>
        <pc:spChg chg="mod">
          <ac:chgData name="Rajat Taneja" userId="4ec436a0-470b-456a-af42-a15c99f1cebd" providerId="ADAL" clId="{3EA19806-CD64-4375-9EA7-939EDDB50E03}" dt="2022-04-06T01:41:24.509" v="772" actId="14100"/>
          <ac:spMkLst>
            <pc:docMk/>
            <pc:sldMk cId="658632293" sldId="2147375115"/>
            <ac:spMk id="274" creationId="{3A03C2C4-D782-44CA-A2EA-1314F74DE181}"/>
          </ac:spMkLst>
        </pc:spChg>
        <pc:spChg chg="mod">
          <ac:chgData name="Rajat Taneja" userId="4ec436a0-470b-456a-af42-a15c99f1cebd" providerId="ADAL" clId="{3EA19806-CD64-4375-9EA7-939EDDB50E03}" dt="2022-04-06T01:41:24.509" v="772" actId="14100"/>
          <ac:spMkLst>
            <pc:docMk/>
            <pc:sldMk cId="658632293" sldId="2147375115"/>
            <ac:spMk id="275" creationId="{57FE8529-6DD3-4141-8EC1-7687673617F4}"/>
          </ac:spMkLst>
        </pc:spChg>
        <pc:spChg chg="mod">
          <ac:chgData name="Rajat Taneja" userId="4ec436a0-470b-456a-af42-a15c99f1cebd" providerId="ADAL" clId="{3EA19806-CD64-4375-9EA7-939EDDB50E03}" dt="2022-04-06T01:41:24.509" v="772" actId="14100"/>
          <ac:spMkLst>
            <pc:docMk/>
            <pc:sldMk cId="658632293" sldId="2147375115"/>
            <ac:spMk id="276" creationId="{8E104781-8654-44E1-A1C6-9AD605B3F788}"/>
          </ac:spMkLst>
        </pc:spChg>
        <pc:spChg chg="mod">
          <ac:chgData name="Rajat Taneja" userId="4ec436a0-470b-456a-af42-a15c99f1cebd" providerId="ADAL" clId="{3EA19806-CD64-4375-9EA7-939EDDB50E03}" dt="2022-04-06T01:41:24.509" v="772" actId="14100"/>
          <ac:spMkLst>
            <pc:docMk/>
            <pc:sldMk cId="658632293" sldId="2147375115"/>
            <ac:spMk id="277" creationId="{10823987-66B5-4DB0-BC61-846F27E2BD68}"/>
          </ac:spMkLst>
        </pc:spChg>
        <pc:spChg chg="mod">
          <ac:chgData name="Rajat Taneja" userId="4ec436a0-470b-456a-af42-a15c99f1cebd" providerId="ADAL" clId="{3EA19806-CD64-4375-9EA7-939EDDB50E03}" dt="2022-04-06T01:41:24.509" v="772" actId="14100"/>
          <ac:spMkLst>
            <pc:docMk/>
            <pc:sldMk cId="658632293" sldId="2147375115"/>
            <ac:spMk id="278" creationId="{4FD25394-7FFA-46CF-B9FE-F0DFFE833EF2}"/>
          </ac:spMkLst>
        </pc:spChg>
        <pc:spChg chg="mod">
          <ac:chgData name="Rajat Taneja" userId="4ec436a0-470b-456a-af42-a15c99f1cebd" providerId="ADAL" clId="{3EA19806-CD64-4375-9EA7-939EDDB50E03}" dt="2022-04-06T01:41:24.509" v="772" actId="14100"/>
          <ac:spMkLst>
            <pc:docMk/>
            <pc:sldMk cId="658632293" sldId="2147375115"/>
            <ac:spMk id="279" creationId="{EFBCE911-872A-4F78-91F4-402FE16FC920}"/>
          </ac:spMkLst>
        </pc:spChg>
        <pc:spChg chg="mod">
          <ac:chgData name="Rajat Taneja" userId="4ec436a0-470b-456a-af42-a15c99f1cebd" providerId="ADAL" clId="{3EA19806-CD64-4375-9EA7-939EDDB50E03}" dt="2022-04-06T01:41:24.509" v="772" actId="14100"/>
          <ac:spMkLst>
            <pc:docMk/>
            <pc:sldMk cId="658632293" sldId="2147375115"/>
            <ac:spMk id="280" creationId="{61CC2D46-A246-44CA-9A1F-546A1C8A43EC}"/>
          </ac:spMkLst>
        </pc:spChg>
        <pc:spChg chg="mod">
          <ac:chgData name="Rajat Taneja" userId="4ec436a0-470b-456a-af42-a15c99f1cebd" providerId="ADAL" clId="{3EA19806-CD64-4375-9EA7-939EDDB50E03}" dt="2022-04-06T01:41:24.509" v="772" actId="14100"/>
          <ac:spMkLst>
            <pc:docMk/>
            <pc:sldMk cId="658632293" sldId="2147375115"/>
            <ac:spMk id="281" creationId="{A5166969-C424-4CD0-B5E1-94033345A5E1}"/>
          </ac:spMkLst>
        </pc:spChg>
        <pc:spChg chg="mod">
          <ac:chgData name="Rajat Taneja" userId="4ec436a0-470b-456a-af42-a15c99f1cebd" providerId="ADAL" clId="{3EA19806-CD64-4375-9EA7-939EDDB50E03}" dt="2022-04-06T01:41:24.509" v="772" actId="14100"/>
          <ac:spMkLst>
            <pc:docMk/>
            <pc:sldMk cId="658632293" sldId="2147375115"/>
            <ac:spMk id="282" creationId="{3FA5A9DB-1705-4C2F-9346-0BB1FD4F6AC3}"/>
          </ac:spMkLst>
        </pc:spChg>
        <pc:spChg chg="mod">
          <ac:chgData name="Rajat Taneja" userId="4ec436a0-470b-456a-af42-a15c99f1cebd" providerId="ADAL" clId="{3EA19806-CD64-4375-9EA7-939EDDB50E03}" dt="2022-04-06T01:41:24.509" v="772" actId="14100"/>
          <ac:spMkLst>
            <pc:docMk/>
            <pc:sldMk cId="658632293" sldId="2147375115"/>
            <ac:spMk id="283" creationId="{5839BC92-C707-4E9C-BBC8-384F5372FA86}"/>
          </ac:spMkLst>
        </pc:spChg>
        <pc:spChg chg="mod">
          <ac:chgData name="Rajat Taneja" userId="4ec436a0-470b-456a-af42-a15c99f1cebd" providerId="ADAL" clId="{3EA19806-CD64-4375-9EA7-939EDDB50E03}" dt="2022-04-06T01:41:24.509" v="772" actId="14100"/>
          <ac:spMkLst>
            <pc:docMk/>
            <pc:sldMk cId="658632293" sldId="2147375115"/>
            <ac:spMk id="284" creationId="{EE00950E-834C-4634-BCD4-633EC809FC3B}"/>
          </ac:spMkLst>
        </pc:spChg>
        <pc:spChg chg="mod">
          <ac:chgData name="Rajat Taneja" userId="4ec436a0-470b-456a-af42-a15c99f1cebd" providerId="ADAL" clId="{3EA19806-CD64-4375-9EA7-939EDDB50E03}" dt="2022-04-06T01:41:24.509" v="772" actId="14100"/>
          <ac:spMkLst>
            <pc:docMk/>
            <pc:sldMk cId="658632293" sldId="2147375115"/>
            <ac:spMk id="285" creationId="{386E7AAA-DF5E-43C5-97CC-EAAFCCA8CF3E}"/>
          </ac:spMkLst>
        </pc:spChg>
        <pc:spChg chg="mod">
          <ac:chgData name="Rajat Taneja" userId="4ec436a0-470b-456a-af42-a15c99f1cebd" providerId="ADAL" clId="{3EA19806-CD64-4375-9EA7-939EDDB50E03}" dt="2022-04-06T01:41:24.509" v="772" actId="14100"/>
          <ac:spMkLst>
            <pc:docMk/>
            <pc:sldMk cId="658632293" sldId="2147375115"/>
            <ac:spMk id="286" creationId="{7CB6BD62-23E2-4ECE-A65A-0A2045242D0F}"/>
          </ac:spMkLst>
        </pc:spChg>
        <pc:spChg chg="mod">
          <ac:chgData name="Rajat Taneja" userId="4ec436a0-470b-456a-af42-a15c99f1cebd" providerId="ADAL" clId="{3EA19806-CD64-4375-9EA7-939EDDB50E03}" dt="2022-04-06T01:41:24.509" v="772" actId="14100"/>
          <ac:spMkLst>
            <pc:docMk/>
            <pc:sldMk cId="658632293" sldId="2147375115"/>
            <ac:spMk id="287" creationId="{7CCB8B21-FC66-413D-A878-13BEE8539046}"/>
          </ac:spMkLst>
        </pc:spChg>
        <pc:spChg chg="mod">
          <ac:chgData name="Rajat Taneja" userId="4ec436a0-470b-456a-af42-a15c99f1cebd" providerId="ADAL" clId="{3EA19806-CD64-4375-9EA7-939EDDB50E03}" dt="2022-04-06T01:41:24.509" v="772" actId="14100"/>
          <ac:spMkLst>
            <pc:docMk/>
            <pc:sldMk cId="658632293" sldId="2147375115"/>
            <ac:spMk id="288" creationId="{68330401-C009-4C40-80E7-5D07EBB9B51F}"/>
          </ac:spMkLst>
        </pc:spChg>
        <pc:spChg chg="mod">
          <ac:chgData name="Rajat Taneja" userId="4ec436a0-470b-456a-af42-a15c99f1cebd" providerId="ADAL" clId="{3EA19806-CD64-4375-9EA7-939EDDB50E03}" dt="2022-04-06T01:41:24.509" v="772" actId="14100"/>
          <ac:spMkLst>
            <pc:docMk/>
            <pc:sldMk cId="658632293" sldId="2147375115"/>
            <ac:spMk id="289" creationId="{9AE27AD8-84B9-4B26-97B4-C4726A753004}"/>
          </ac:spMkLst>
        </pc:spChg>
        <pc:spChg chg="mod">
          <ac:chgData name="Rajat Taneja" userId="4ec436a0-470b-456a-af42-a15c99f1cebd" providerId="ADAL" clId="{3EA19806-CD64-4375-9EA7-939EDDB50E03}" dt="2022-04-06T01:41:24.509" v="772" actId="14100"/>
          <ac:spMkLst>
            <pc:docMk/>
            <pc:sldMk cId="658632293" sldId="2147375115"/>
            <ac:spMk id="290" creationId="{E9768BF2-3623-4100-A827-7DA25BFEEC1D}"/>
          </ac:spMkLst>
        </pc:spChg>
        <pc:spChg chg="mod">
          <ac:chgData name="Rajat Taneja" userId="4ec436a0-470b-456a-af42-a15c99f1cebd" providerId="ADAL" clId="{3EA19806-CD64-4375-9EA7-939EDDB50E03}" dt="2022-04-06T01:41:24.509" v="772" actId="14100"/>
          <ac:spMkLst>
            <pc:docMk/>
            <pc:sldMk cId="658632293" sldId="2147375115"/>
            <ac:spMk id="291" creationId="{C55F5476-C280-4B25-9F4A-16897EFA063D}"/>
          </ac:spMkLst>
        </pc:spChg>
        <pc:spChg chg="mod">
          <ac:chgData name="Rajat Taneja" userId="4ec436a0-470b-456a-af42-a15c99f1cebd" providerId="ADAL" clId="{3EA19806-CD64-4375-9EA7-939EDDB50E03}" dt="2022-04-06T01:41:24.509" v="772" actId="14100"/>
          <ac:spMkLst>
            <pc:docMk/>
            <pc:sldMk cId="658632293" sldId="2147375115"/>
            <ac:spMk id="292" creationId="{4001E317-2A69-4920-85BA-F7194A8028D8}"/>
          </ac:spMkLst>
        </pc:spChg>
        <pc:spChg chg="mod">
          <ac:chgData name="Rajat Taneja" userId="4ec436a0-470b-456a-af42-a15c99f1cebd" providerId="ADAL" clId="{3EA19806-CD64-4375-9EA7-939EDDB50E03}" dt="2022-04-06T01:41:24.509" v="772" actId="14100"/>
          <ac:spMkLst>
            <pc:docMk/>
            <pc:sldMk cId="658632293" sldId="2147375115"/>
            <ac:spMk id="293" creationId="{48CD3760-7826-4608-A788-A93B686C75F6}"/>
          </ac:spMkLst>
        </pc:spChg>
        <pc:spChg chg="mod">
          <ac:chgData name="Rajat Taneja" userId="4ec436a0-470b-456a-af42-a15c99f1cebd" providerId="ADAL" clId="{3EA19806-CD64-4375-9EA7-939EDDB50E03}" dt="2022-04-06T01:41:24.509" v="772" actId="14100"/>
          <ac:spMkLst>
            <pc:docMk/>
            <pc:sldMk cId="658632293" sldId="2147375115"/>
            <ac:spMk id="294" creationId="{35356544-FD5C-4E07-84CA-043F07B1A28C}"/>
          </ac:spMkLst>
        </pc:spChg>
        <pc:spChg chg="mod">
          <ac:chgData name="Rajat Taneja" userId="4ec436a0-470b-456a-af42-a15c99f1cebd" providerId="ADAL" clId="{3EA19806-CD64-4375-9EA7-939EDDB50E03}" dt="2022-04-06T01:41:24.509" v="772" actId="14100"/>
          <ac:spMkLst>
            <pc:docMk/>
            <pc:sldMk cId="658632293" sldId="2147375115"/>
            <ac:spMk id="295" creationId="{B12B636F-56FD-4D97-BAAC-B69C98A161B8}"/>
          </ac:spMkLst>
        </pc:spChg>
        <pc:spChg chg="mod">
          <ac:chgData name="Rajat Taneja" userId="4ec436a0-470b-456a-af42-a15c99f1cebd" providerId="ADAL" clId="{3EA19806-CD64-4375-9EA7-939EDDB50E03}" dt="2022-04-06T01:41:24.509" v="772" actId="14100"/>
          <ac:spMkLst>
            <pc:docMk/>
            <pc:sldMk cId="658632293" sldId="2147375115"/>
            <ac:spMk id="296" creationId="{FB30E097-142C-4604-BF52-5E6B722DD76E}"/>
          </ac:spMkLst>
        </pc:spChg>
        <pc:spChg chg="mod">
          <ac:chgData name="Rajat Taneja" userId="4ec436a0-470b-456a-af42-a15c99f1cebd" providerId="ADAL" clId="{3EA19806-CD64-4375-9EA7-939EDDB50E03}" dt="2022-04-06T01:41:24.509" v="772" actId="14100"/>
          <ac:spMkLst>
            <pc:docMk/>
            <pc:sldMk cId="658632293" sldId="2147375115"/>
            <ac:spMk id="297" creationId="{39F92EC7-B27C-4314-9625-5453D6668CCA}"/>
          </ac:spMkLst>
        </pc:spChg>
        <pc:spChg chg="mod">
          <ac:chgData name="Rajat Taneja" userId="4ec436a0-470b-456a-af42-a15c99f1cebd" providerId="ADAL" clId="{3EA19806-CD64-4375-9EA7-939EDDB50E03}" dt="2022-04-06T01:41:24.509" v="772" actId="14100"/>
          <ac:spMkLst>
            <pc:docMk/>
            <pc:sldMk cId="658632293" sldId="2147375115"/>
            <ac:spMk id="298" creationId="{09275662-615E-4F1D-A54E-CE5DCB515D5C}"/>
          </ac:spMkLst>
        </pc:spChg>
        <pc:spChg chg="mod">
          <ac:chgData name="Rajat Taneja" userId="4ec436a0-470b-456a-af42-a15c99f1cebd" providerId="ADAL" clId="{3EA19806-CD64-4375-9EA7-939EDDB50E03}" dt="2022-04-06T01:41:24.509" v="772" actId="14100"/>
          <ac:spMkLst>
            <pc:docMk/>
            <pc:sldMk cId="658632293" sldId="2147375115"/>
            <ac:spMk id="299" creationId="{35FBD928-1BA1-438E-8072-C58A7A7DAF94}"/>
          </ac:spMkLst>
        </pc:spChg>
        <pc:spChg chg="mod">
          <ac:chgData name="Rajat Taneja" userId="4ec436a0-470b-456a-af42-a15c99f1cebd" providerId="ADAL" clId="{3EA19806-CD64-4375-9EA7-939EDDB50E03}" dt="2022-04-06T01:41:24.509" v="772" actId="14100"/>
          <ac:spMkLst>
            <pc:docMk/>
            <pc:sldMk cId="658632293" sldId="2147375115"/>
            <ac:spMk id="300" creationId="{1C791FC9-FA45-43FE-BFD1-76E4DE628E47}"/>
          </ac:spMkLst>
        </pc:spChg>
        <pc:spChg chg="mod">
          <ac:chgData name="Rajat Taneja" userId="4ec436a0-470b-456a-af42-a15c99f1cebd" providerId="ADAL" clId="{3EA19806-CD64-4375-9EA7-939EDDB50E03}" dt="2022-04-06T01:41:24.509" v="772" actId="14100"/>
          <ac:spMkLst>
            <pc:docMk/>
            <pc:sldMk cId="658632293" sldId="2147375115"/>
            <ac:spMk id="301" creationId="{4CFC81E6-B834-4325-A47E-81FB0B994DB5}"/>
          </ac:spMkLst>
        </pc:spChg>
        <pc:spChg chg="mod">
          <ac:chgData name="Rajat Taneja" userId="4ec436a0-470b-456a-af42-a15c99f1cebd" providerId="ADAL" clId="{3EA19806-CD64-4375-9EA7-939EDDB50E03}" dt="2022-04-06T01:41:24.509" v="772" actId="14100"/>
          <ac:spMkLst>
            <pc:docMk/>
            <pc:sldMk cId="658632293" sldId="2147375115"/>
            <ac:spMk id="302" creationId="{CDF42A69-56C9-4EAC-B0F1-B312F9CC74F7}"/>
          </ac:spMkLst>
        </pc:spChg>
        <pc:spChg chg="mod">
          <ac:chgData name="Rajat Taneja" userId="4ec436a0-470b-456a-af42-a15c99f1cebd" providerId="ADAL" clId="{3EA19806-CD64-4375-9EA7-939EDDB50E03}" dt="2022-04-06T01:41:24.509" v="772" actId="14100"/>
          <ac:spMkLst>
            <pc:docMk/>
            <pc:sldMk cId="658632293" sldId="2147375115"/>
            <ac:spMk id="303" creationId="{2C1C80CA-435A-4A51-A9DB-9DFF73DA19F6}"/>
          </ac:spMkLst>
        </pc:spChg>
        <pc:spChg chg="mod">
          <ac:chgData name="Rajat Taneja" userId="4ec436a0-470b-456a-af42-a15c99f1cebd" providerId="ADAL" clId="{3EA19806-CD64-4375-9EA7-939EDDB50E03}" dt="2022-04-06T01:41:24.509" v="772" actId="14100"/>
          <ac:spMkLst>
            <pc:docMk/>
            <pc:sldMk cId="658632293" sldId="2147375115"/>
            <ac:spMk id="304" creationId="{DCC61092-3A8B-4FB1-9290-286C7F84EDBB}"/>
          </ac:spMkLst>
        </pc:spChg>
        <pc:spChg chg="mod">
          <ac:chgData name="Rajat Taneja" userId="4ec436a0-470b-456a-af42-a15c99f1cebd" providerId="ADAL" clId="{3EA19806-CD64-4375-9EA7-939EDDB50E03}" dt="2022-04-06T01:41:24.509" v="772" actId="14100"/>
          <ac:spMkLst>
            <pc:docMk/>
            <pc:sldMk cId="658632293" sldId="2147375115"/>
            <ac:spMk id="305" creationId="{9B93191D-B51D-46FF-89BD-3602222748A5}"/>
          </ac:spMkLst>
        </pc:spChg>
        <pc:spChg chg="mod">
          <ac:chgData name="Rajat Taneja" userId="4ec436a0-470b-456a-af42-a15c99f1cebd" providerId="ADAL" clId="{3EA19806-CD64-4375-9EA7-939EDDB50E03}" dt="2022-04-06T01:41:24.509" v="772" actId="14100"/>
          <ac:spMkLst>
            <pc:docMk/>
            <pc:sldMk cId="658632293" sldId="2147375115"/>
            <ac:spMk id="306" creationId="{CE712E7C-3DA3-4ACD-B1D7-922F45EE169D}"/>
          </ac:spMkLst>
        </pc:spChg>
        <pc:spChg chg="mod">
          <ac:chgData name="Rajat Taneja" userId="4ec436a0-470b-456a-af42-a15c99f1cebd" providerId="ADAL" clId="{3EA19806-CD64-4375-9EA7-939EDDB50E03}" dt="2022-04-06T01:41:24.509" v="772" actId="14100"/>
          <ac:spMkLst>
            <pc:docMk/>
            <pc:sldMk cId="658632293" sldId="2147375115"/>
            <ac:spMk id="307" creationId="{28D6FF40-0CDC-4C3D-B6DD-3E4ED40FC89D}"/>
          </ac:spMkLst>
        </pc:spChg>
        <pc:spChg chg="mod">
          <ac:chgData name="Rajat Taneja" userId="4ec436a0-470b-456a-af42-a15c99f1cebd" providerId="ADAL" clId="{3EA19806-CD64-4375-9EA7-939EDDB50E03}" dt="2022-04-06T01:41:24.509" v="772" actId="14100"/>
          <ac:spMkLst>
            <pc:docMk/>
            <pc:sldMk cId="658632293" sldId="2147375115"/>
            <ac:spMk id="308" creationId="{72399CFC-B9B0-42F8-AC72-062209812421}"/>
          </ac:spMkLst>
        </pc:spChg>
        <pc:spChg chg="mod">
          <ac:chgData name="Rajat Taneja" userId="4ec436a0-470b-456a-af42-a15c99f1cebd" providerId="ADAL" clId="{3EA19806-CD64-4375-9EA7-939EDDB50E03}" dt="2022-04-06T01:41:24.509" v="772" actId="14100"/>
          <ac:spMkLst>
            <pc:docMk/>
            <pc:sldMk cId="658632293" sldId="2147375115"/>
            <ac:spMk id="309" creationId="{D8928856-1B34-45D6-8846-2FA69B302409}"/>
          </ac:spMkLst>
        </pc:spChg>
        <pc:spChg chg="mod">
          <ac:chgData name="Rajat Taneja" userId="4ec436a0-470b-456a-af42-a15c99f1cebd" providerId="ADAL" clId="{3EA19806-CD64-4375-9EA7-939EDDB50E03}" dt="2022-04-06T01:41:24.509" v="772" actId="14100"/>
          <ac:spMkLst>
            <pc:docMk/>
            <pc:sldMk cId="658632293" sldId="2147375115"/>
            <ac:spMk id="310" creationId="{B3C284F0-94B9-45BC-AFA8-5EA564C991D7}"/>
          </ac:spMkLst>
        </pc:spChg>
        <pc:spChg chg="mod">
          <ac:chgData name="Rajat Taneja" userId="4ec436a0-470b-456a-af42-a15c99f1cebd" providerId="ADAL" clId="{3EA19806-CD64-4375-9EA7-939EDDB50E03}" dt="2022-04-06T01:41:24.509" v="772" actId="14100"/>
          <ac:spMkLst>
            <pc:docMk/>
            <pc:sldMk cId="658632293" sldId="2147375115"/>
            <ac:spMk id="311" creationId="{2B3AABFD-B9F7-425E-978F-B5EBE350BB9D}"/>
          </ac:spMkLst>
        </pc:spChg>
        <pc:spChg chg="add mod">
          <ac:chgData name="Rajat Taneja" userId="4ec436a0-470b-456a-af42-a15c99f1cebd" providerId="ADAL" clId="{3EA19806-CD64-4375-9EA7-939EDDB50E03}" dt="2022-04-06T01:42:04.223" v="777" actId="1076"/>
          <ac:spMkLst>
            <pc:docMk/>
            <pc:sldMk cId="658632293" sldId="2147375115"/>
            <ac:spMk id="312" creationId="{DB03A42D-E3F9-4BB6-8D5D-9638A52411BB}"/>
          </ac:spMkLst>
        </pc:spChg>
        <pc:grpChg chg="add del mod">
          <ac:chgData name="Rajat Taneja" userId="4ec436a0-470b-456a-af42-a15c99f1cebd" providerId="ADAL" clId="{3EA19806-CD64-4375-9EA7-939EDDB50E03}" dt="2022-04-06T01:25:39.249" v="570" actId="21"/>
          <ac:grpSpMkLst>
            <pc:docMk/>
            <pc:sldMk cId="658632293" sldId="2147375115"/>
            <ac:grpSpMk id="166" creationId="{0D5B858F-45E6-45D3-9814-9553971908F5}"/>
          </ac:grpSpMkLst>
        </pc:grpChg>
        <pc:grpChg chg="add mod">
          <ac:chgData name="Rajat Taneja" userId="4ec436a0-470b-456a-af42-a15c99f1cebd" providerId="ADAL" clId="{3EA19806-CD64-4375-9EA7-939EDDB50E03}" dt="2022-04-06T01:41:24.509" v="772" actId="14100"/>
          <ac:grpSpMkLst>
            <pc:docMk/>
            <pc:sldMk cId="658632293" sldId="2147375115"/>
            <ac:grpSpMk id="167" creationId="{82E6D094-5526-4BC5-951A-E8D77F5C1965}"/>
          </ac:grpSpMkLst>
        </pc:grpChg>
        <pc:picChg chg="add del mod">
          <ac:chgData name="Rajat Taneja" userId="4ec436a0-470b-456a-af42-a15c99f1cebd" providerId="ADAL" clId="{3EA19806-CD64-4375-9EA7-939EDDB50E03}" dt="2022-04-06T01:24:41.243" v="560" actId="478"/>
          <ac:picMkLst>
            <pc:docMk/>
            <pc:sldMk cId="658632293" sldId="2147375115"/>
            <ac:picMk id="157" creationId="{485CBE16-1642-4D70-9CE6-49DA9E06C87E}"/>
          </ac:picMkLst>
        </pc:picChg>
        <pc:picChg chg="add del mod">
          <ac:chgData name="Rajat Taneja" userId="4ec436a0-470b-456a-af42-a15c99f1cebd" providerId="ADAL" clId="{3EA19806-CD64-4375-9EA7-939EDDB50E03}" dt="2022-04-06T01:24:43.034" v="561" actId="478"/>
          <ac:picMkLst>
            <pc:docMk/>
            <pc:sldMk cId="658632293" sldId="2147375115"/>
            <ac:picMk id="158" creationId="{7D76FCC1-92D2-4BC9-968A-F093954BC7AD}"/>
          </ac:picMkLst>
        </pc:picChg>
        <pc:picChg chg="add del mod">
          <ac:chgData name="Rajat Taneja" userId="4ec436a0-470b-456a-af42-a15c99f1cebd" providerId="ADAL" clId="{3EA19806-CD64-4375-9EA7-939EDDB50E03}" dt="2022-04-06T01:24:32.368" v="554" actId="478"/>
          <ac:picMkLst>
            <pc:docMk/>
            <pc:sldMk cId="658632293" sldId="2147375115"/>
            <ac:picMk id="159" creationId="{E4075676-855A-4708-89CD-7A4742AC369D}"/>
          </ac:picMkLst>
        </pc:picChg>
        <pc:picChg chg="add del mod">
          <ac:chgData name="Rajat Taneja" userId="4ec436a0-470b-456a-af42-a15c99f1cebd" providerId="ADAL" clId="{3EA19806-CD64-4375-9EA7-939EDDB50E03}" dt="2022-04-06T01:24:24.686" v="552" actId="478"/>
          <ac:picMkLst>
            <pc:docMk/>
            <pc:sldMk cId="658632293" sldId="2147375115"/>
            <ac:picMk id="160" creationId="{ACFE23E0-97A6-45B4-9936-35DC5B540AD2}"/>
          </ac:picMkLst>
        </pc:picChg>
        <pc:picChg chg="add del mod">
          <ac:chgData name="Rajat Taneja" userId="4ec436a0-470b-456a-af42-a15c99f1cebd" providerId="ADAL" clId="{3EA19806-CD64-4375-9EA7-939EDDB50E03}" dt="2022-04-06T01:24:36.582" v="556" actId="478"/>
          <ac:picMkLst>
            <pc:docMk/>
            <pc:sldMk cId="658632293" sldId="2147375115"/>
            <ac:picMk id="161" creationId="{D2C39481-DF3B-4E46-A559-CC49FE9A9A3B}"/>
          </ac:picMkLst>
        </pc:picChg>
        <pc:cxnChg chg="add del mod">
          <ac:chgData name="Rajat Taneja" userId="4ec436a0-470b-456a-af42-a15c99f1cebd" providerId="ADAL" clId="{3EA19806-CD64-4375-9EA7-939EDDB50E03}" dt="2022-04-06T01:24:40.445" v="559" actId="478"/>
          <ac:cxnSpMkLst>
            <pc:docMk/>
            <pc:sldMk cId="658632293" sldId="2147375115"/>
            <ac:cxnSpMk id="150" creationId="{2258B149-11B6-4CEC-BCB8-169A57E00194}"/>
          </ac:cxnSpMkLst>
        </pc:cxnChg>
        <pc:cxnChg chg="add del mod">
          <ac:chgData name="Rajat Taneja" userId="4ec436a0-470b-456a-af42-a15c99f1cebd" providerId="ADAL" clId="{3EA19806-CD64-4375-9EA7-939EDDB50E03}" dt="2022-04-06T01:24:38.970" v="558" actId="478"/>
          <ac:cxnSpMkLst>
            <pc:docMk/>
            <pc:sldMk cId="658632293" sldId="2147375115"/>
            <ac:cxnSpMk id="151" creationId="{B1808288-3AE1-497A-BC3F-97D98E9638D5}"/>
          </ac:cxnSpMkLst>
        </pc:cxnChg>
        <pc:cxnChg chg="add del mod">
          <ac:chgData name="Rajat Taneja" userId="4ec436a0-470b-456a-af42-a15c99f1cebd" providerId="ADAL" clId="{3EA19806-CD64-4375-9EA7-939EDDB50E03}" dt="2022-04-06T01:24:50.034" v="564" actId="478"/>
          <ac:cxnSpMkLst>
            <pc:docMk/>
            <pc:sldMk cId="658632293" sldId="2147375115"/>
            <ac:cxnSpMk id="152" creationId="{999B55E4-3C5D-4718-A655-7556BD12A79E}"/>
          </ac:cxnSpMkLst>
        </pc:cxnChg>
        <pc:cxnChg chg="add del mod">
          <ac:chgData name="Rajat Taneja" userId="4ec436a0-470b-456a-af42-a15c99f1cebd" providerId="ADAL" clId="{3EA19806-CD64-4375-9EA7-939EDDB50E03}" dt="2022-04-06T01:24:44.056" v="562" actId="478"/>
          <ac:cxnSpMkLst>
            <pc:docMk/>
            <pc:sldMk cId="658632293" sldId="2147375115"/>
            <ac:cxnSpMk id="153" creationId="{6045E688-B314-4848-A4CE-C6FB843BC629}"/>
          </ac:cxnSpMkLst>
        </pc:cxnChg>
        <pc:cxnChg chg="add del mod">
          <ac:chgData name="Rajat Taneja" userId="4ec436a0-470b-456a-af42-a15c99f1cebd" providerId="ADAL" clId="{3EA19806-CD64-4375-9EA7-939EDDB50E03}" dt="2022-04-06T01:24:37.934" v="557" actId="478"/>
          <ac:cxnSpMkLst>
            <pc:docMk/>
            <pc:sldMk cId="658632293" sldId="2147375115"/>
            <ac:cxnSpMk id="154" creationId="{B62B4EAB-F9A5-4F39-857E-F25E08413388}"/>
          </ac:cxnSpMkLst>
        </pc:cxnChg>
        <pc:cxnChg chg="add del mod">
          <ac:chgData name="Rajat Taneja" userId="4ec436a0-470b-456a-af42-a15c99f1cebd" providerId="ADAL" clId="{3EA19806-CD64-4375-9EA7-939EDDB50E03}" dt="2022-04-06T01:24:25.824" v="553" actId="478"/>
          <ac:cxnSpMkLst>
            <pc:docMk/>
            <pc:sldMk cId="658632293" sldId="2147375115"/>
            <ac:cxnSpMk id="155" creationId="{0878A846-3B06-4324-89CD-060B5D773665}"/>
          </ac:cxnSpMkLst>
        </pc:cxnChg>
        <pc:cxnChg chg="add del mod">
          <ac:chgData name="Rajat Taneja" userId="4ec436a0-470b-456a-af42-a15c99f1cebd" providerId="ADAL" clId="{3EA19806-CD64-4375-9EA7-939EDDB50E03}" dt="2022-04-06T01:24:48.855" v="563" actId="478"/>
          <ac:cxnSpMkLst>
            <pc:docMk/>
            <pc:sldMk cId="658632293" sldId="2147375115"/>
            <ac:cxnSpMk id="156" creationId="{F564E00D-F060-490F-823A-D27CEFD80038}"/>
          </ac:cxnSpMkLst>
        </pc:cxnChg>
      </pc:sldChg>
      <pc:sldChg chg="addSp delSp modSp add mod">
        <pc:chgData name="Rajat Taneja" userId="4ec436a0-470b-456a-af42-a15c99f1cebd" providerId="ADAL" clId="{3EA19806-CD64-4375-9EA7-939EDDB50E03}" dt="2022-08-15T22:41:31.901" v="3417" actId="20577"/>
        <pc:sldMkLst>
          <pc:docMk/>
          <pc:sldMk cId="1552987170" sldId="2147375116"/>
        </pc:sldMkLst>
        <pc:spChg chg="del mod">
          <ac:chgData name="Rajat Taneja" userId="4ec436a0-470b-456a-af42-a15c99f1cebd" providerId="ADAL" clId="{3EA19806-CD64-4375-9EA7-939EDDB50E03}" dt="2022-05-04T06:56:40.869" v="2745" actId="478"/>
          <ac:spMkLst>
            <pc:docMk/>
            <pc:sldMk cId="1552987170" sldId="2147375116"/>
            <ac:spMk id="2" creationId="{C3B47EED-90B4-4F90-BCE4-14AA2A86156C}"/>
          </ac:spMkLst>
        </pc:spChg>
        <pc:spChg chg="mod">
          <ac:chgData name="Rajat Taneja" userId="4ec436a0-470b-456a-af42-a15c99f1cebd" providerId="ADAL" clId="{3EA19806-CD64-4375-9EA7-939EDDB50E03}" dt="2022-05-04T07:55:55.527" v="3231" actId="948"/>
          <ac:spMkLst>
            <pc:docMk/>
            <pc:sldMk cId="1552987170" sldId="2147375116"/>
            <ac:spMk id="3" creationId="{BCF31B12-263F-4832-906B-0906A44839F4}"/>
          </ac:spMkLst>
        </pc:spChg>
        <pc:spChg chg="mod">
          <ac:chgData name="Rajat Taneja" userId="4ec436a0-470b-456a-af42-a15c99f1cebd" providerId="ADAL" clId="{3EA19806-CD64-4375-9EA7-939EDDB50E03}" dt="2022-05-04T07:56:41.355" v="3310"/>
          <ac:spMkLst>
            <pc:docMk/>
            <pc:sldMk cId="1552987170" sldId="2147375116"/>
            <ac:spMk id="6" creationId="{654B90E4-2088-4539-967D-F64869E475B6}"/>
          </ac:spMkLst>
        </pc:spChg>
        <pc:spChg chg="add del">
          <ac:chgData name="Rajat Taneja" userId="4ec436a0-470b-456a-af42-a15c99f1cebd" providerId="ADAL" clId="{3EA19806-CD64-4375-9EA7-939EDDB50E03}" dt="2022-05-04T06:48:15.152" v="2277" actId="478"/>
          <ac:spMkLst>
            <pc:docMk/>
            <pc:sldMk cId="1552987170" sldId="2147375116"/>
            <ac:spMk id="7" creationId="{23FD9BEF-8260-40B4-BC02-B45C4C4089E2}"/>
          </ac:spMkLst>
        </pc:spChg>
        <pc:spChg chg="mod">
          <ac:chgData name="Rajat Taneja" userId="4ec436a0-470b-456a-af42-a15c99f1cebd" providerId="ADAL" clId="{3EA19806-CD64-4375-9EA7-939EDDB50E03}" dt="2022-05-04T06:50:21.878" v="2394" actId="1038"/>
          <ac:spMkLst>
            <pc:docMk/>
            <pc:sldMk cId="1552987170" sldId="2147375116"/>
            <ac:spMk id="8" creationId="{E52E6AE1-2E42-4EB4-9E86-2671677CD359}"/>
          </ac:spMkLst>
        </pc:spChg>
        <pc:spChg chg="add del mod modVis">
          <ac:chgData name="Rajat Taneja" userId="4ec436a0-470b-456a-af42-a15c99f1cebd" providerId="ADAL" clId="{3EA19806-CD64-4375-9EA7-939EDDB50E03}" dt="2022-05-04T06:51:02.770" v="2460"/>
          <ac:spMkLst>
            <pc:docMk/>
            <pc:sldMk cId="1552987170" sldId="2147375116"/>
            <ac:spMk id="9" creationId="{30981A2E-4A63-4486-B714-1D52FF4845FE}"/>
          </ac:spMkLst>
        </pc:spChg>
        <pc:spChg chg="add del mod modVis">
          <ac:chgData name="Rajat Taneja" userId="4ec436a0-470b-456a-af42-a15c99f1cebd" providerId="ADAL" clId="{3EA19806-CD64-4375-9EA7-939EDDB50E03}" dt="2022-05-04T06:51:04.874" v="2504"/>
          <ac:spMkLst>
            <pc:docMk/>
            <pc:sldMk cId="1552987170" sldId="2147375116"/>
            <ac:spMk id="10" creationId="{F7B46F28-11CF-42B2-98A8-1EE116BC19C4}"/>
          </ac:spMkLst>
        </pc:spChg>
        <pc:spChg chg="add del mod modVis">
          <ac:chgData name="Rajat Taneja" userId="4ec436a0-470b-456a-af42-a15c99f1cebd" providerId="ADAL" clId="{3EA19806-CD64-4375-9EA7-939EDDB50E03}" dt="2022-05-04T06:51:09.025" v="2547"/>
          <ac:spMkLst>
            <pc:docMk/>
            <pc:sldMk cId="1552987170" sldId="2147375116"/>
            <ac:spMk id="11" creationId="{F69D801C-ABE4-4B1B-9ACC-32011115CB02}"/>
          </ac:spMkLst>
        </pc:spChg>
        <pc:spChg chg="add del mod modVis">
          <ac:chgData name="Rajat Taneja" userId="4ec436a0-470b-456a-af42-a15c99f1cebd" providerId="ADAL" clId="{3EA19806-CD64-4375-9EA7-939EDDB50E03}" dt="2022-05-04T06:51:22.663" v="2594"/>
          <ac:spMkLst>
            <pc:docMk/>
            <pc:sldMk cId="1552987170" sldId="2147375116"/>
            <ac:spMk id="12" creationId="{8AAE1875-2475-42B6-8E1D-7D9DD293E274}"/>
          </ac:spMkLst>
        </pc:spChg>
        <pc:spChg chg="add mod topLvl">
          <ac:chgData name="Rajat Taneja" userId="4ec436a0-470b-456a-af42-a15c99f1cebd" providerId="ADAL" clId="{3EA19806-CD64-4375-9EA7-939EDDB50E03}" dt="2022-05-04T07:54:31.445" v="2819" actId="1037"/>
          <ac:spMkLst>
            <pc:docMk/>
            <pc:sldMk cId="1552987170" sldId="2147375116"/>
            <ac:spMk id="13" creationId="{540C00E2-2A03-44E2-8832-32C3BED16C67}"/>
          </ac:spMkLst>
        </pc:spChg>
        <pc:spChg chg="add del mod">
          <ac:chgData name="Rajat Taneja" userId="4ec436a0-470b-456a-af42-a15c99f1cebd" providerId="ADAL" clId="{3EA19806-CD64-4375-9EA7-939EDDB50E03}" dt="2022-05-04T06:56:44.067" v="2746" actId="478"/>
          <ac:spMkLst>
            <pc:docMk/>
            <pc:sldMk cId="1552987170" sldId="2147375116"/>
            <ac:spMk id="15" creationId="{208EABBA-E280-405C-B2BB-FE32B52015BD}"/>
          </ac:spMkLst>
        </pc:spChg>
        <pc:spChg chg="mod">
          <ac:chgData name="Rajat Taneja" userId="4ec436a0-470b-456a-af42-a15c99f1cebd" providerId="ADAL" clId="{3EA19806-CD64-4375-9EA7-939EDDB50E03}" dt="2022-05-04T06:50:21.878" v="2394" actId="1038"/>
          <ac:spMkLst>
            <pc:docMk/>
            <pc:sldMk cId="1552987170" sldId="2147375116"/>
            <ac:spMk id="16" creationId="{7DB30DD5-A110-4423-B9B9-4E12B45A0260}"/>
          </ac:spMkLst>
        </pc:spChg>
        <pc:spChg chg="mod">
          <ac:chgData name="Rajat Taneja" userId="4ec436a0-470b-456a-af42-a15c99f1cebd" providerId="ADAL" clId="{3EA19806-CD64-4375-9EA7-939EDDB50E03}" dt="2022-05-04T06:50:30.459" v="2396" actId="14100"/>
          <ac:spMkLst>
            <pc:docMk/>
            <pc:sldMk cId="1552987170" sldId="2147375116"/>
            <ac:spMk id="18" creationId="{E972B64D-43EC-4FB2-B7DF-A657533361E2}"/>
          </ac:spMkLst>
        </pc:spChg>
        <pc:spChg chg="mod">
          <ac:chgData name="Rajat Taneja" userId="4ec436a0-470b-456a-af42-a15c99f1cebd" providerId="ADAL" clId="{3EA19806-CD64-4375-9EA7-939EDDB50E03}" dt="2022-05-04T06:48:27.101" v="2278" actId="1076"/>
          <ac:spMkLst>
            <pc:docMk/>
            <pc:sldMk cId="1552987170" sldId="2147375116"/>
            <ac:spMk id="19" creationId="{9089A219-5A0D-424F-AC47-8290467F31DA}"/>
          </ac:spMkLst>
        </pc:spChg>
        <pc:spChg chg="mod">
          <ac:chgData name="Rajat Taneja" userId="4ec436a0-470b-456a-af42-a15c99f1cebd" providerId="ADAL" clId="{3EA19806-CD64-4375-9EA7-939EDDB50E03}" dt="2022-05-04T06:49:22.309" v="2316" actId="1038"/>
          <ac:spMkLst>
            <pc:docMk/>
            <pc:sldMk cId="1552987170" sldId="2147375116"/>
            <ac:spMk id="20" creationId="{4688D630-4B44-40CB-BC70-20BC7595ED09}"/>
          </ac:spMkLst>
        </pc:spChg>
        <pc:spChg chg="add del mod modVis">
          <ac:chgData name="Rajat Taneja" userId="4ec436a0-470b-456a-af42-a15c99f1cebd" providerId="ADAL" clId="{3EA19806-CD64-4375-9EA7-939EDDB50E03}" dt="2022-05-04T07:55:08.272" v="2868"/>
          <ac:spMkLst>
            <pc:docMk/>
            <pc:sldMk cId="1552987170" sldId="2147375116"/>
            <ac:spMk id="23" creationId="{37A17BE9-BAF0-4035-83A2-DFE67F62AF8F}"/>
          </ac:spMkLst>
        </pc:spChg>
        <pc:spChg chg="mod">
          <ac:chgData name="Rajat Taneja" userId="4ec436a0-470b-456a-af42-a15c99f1cebd" providerId="ADAL" clId="{3EA19806-CD64-4375-9EA7-939EDDB50E03}" dt="2022-05-04T06:48:27.101" v="2278" actId="1076"/>
          <ac:spMkLst>
            <pc:docMk/>
            <pc:sldMk cId="1552987170" sldId="2147375116"/>
            <ac:spMk id="24" creationId="{0388D1F1-0219-49C6-9351-77857709FDE3}"/>
          </ac:spMkLst>
        </pc:spChg>
        <pc:spChg chg="mod">
          <ac:chgData name="Rajat Taneja" userId="4ec436a0-470b-456a-af42-a15c99f1cebd" providerId="ADAL" clId="{3EA19806-CD64-4375-9EA7-939EDDB50E03}" dt="2022-05-04T06:48:27.101" v="2278" actId="1076"/>
          <ac:spMkLst>
            <pc:docMk/>
            <pc:sldMk cId="1552987170" sldId="2147375116"/>
            <ac:spMk id="25" creationId="{B78124F2-7BD8-4302-8721-F5464302B617}"/>
          </ac:spMkLst>
        </pc:spChg>
        <pc:spChg chg="mod">
          <ac:chgData name="Rajat Taneja" userId="4ec436a0-470b-456a-af42-a15c99f1cebd" providerId="ADAL" clId="{3EA19806-CD64-4375-9EA7-939EDDB50E03}" dt="2022-05-04T06:50:38.762" v="2408" actId="1037"/>
          <ac:spMkLst>
            <pc:docMk/>
            <pc:sldMk cId="1552987170" sldId="2147375116"/>
            <ac:spMk id="26" creationId="{5E320E10-65E5-4168-90FC-45880DA5D86C}"/>
          </ac:spMkLst>
        </pc:spChg>
        <pc:spChg chg="add del mod modVis">
          <ac:chgData name="Rajat Taneja" userId="4ec436a0-470b-456a-af42-a15c99f1cebd" providerId="ADAL" clId="{3EA19806-CD64-4375-9EA7-939EDDB50E03}" dt="2022-05-04T07:55:13.812" v="2911"/>
          <ac:spMkLst>
            <pc:docMk/>
            <pc:sldMk cId="1552987170" sldId="2147375116"/>
            <ac:spMk id="27" creationId="{E0BE0B75-D72A-41BF-B161-37ADDBABEBFE}"/>
          </ac:spMkLst>
        </pc:spChg>
        <pc:spChg chg="add del mod modVis">
          <ac:chgData name="Rajat Taneja" userId="4ec436a0-470b-456a-af42-a15c99f1cebd" providerId="ADAL" clId="{3EA19806-CD64-4375-9EA7-939EDDB50E03}" dt="2022-05-04T07:55:15.822" v="2954"/>
          <ac:spMkLst>
            <pc:docMk/>
            <pc:sldMk cId="1552987170" sldId="2147375116"/>
            <ac:spMk id="28" creationId="{6CDF7B54-9DAE-46FA-8D73-A796FD875BB6}"/>
          </ac:spMkLst>
        </pc:spChg>
        <pc:spChg chg="add del mod modVis">
          <ac:chgData name="Rajat Taneja" userId="4ec436a0-470b-456a-af42-a15c99f1cebd" providerId="ADAL" clId="{3EA19806-CD64-4375-9EA7-939EDDB50E03}" dt="2022-05-04T07:55:17.597" v="2997"/>
          <ac:spMkLst>
            <pc:docMk/>
            <pc:sldMk cId="1552987170" sldId="2147375116"/>
            <ac:spMk id="29" creationId="{B1EF416A-F888-4ABE-9E33-65DFD854CADB}"/>
          </ac:spMkLst>
        </pc:spChg>
        <pc:spChg chg="mod">
          <ac:chgData name="Rajat Taneja" userId="4ec436a0-470b-456a-af42-a15c99f1cebd" providerId="ADAL" clId="{3EA19806-CD64-4375-9EA7-939EDDB50E03}" dt="2022-05-04T06:50:10.746" v="2381" actId="1038"/>
          <ac:spMkLst>
            <pc:docMk/>
            <pc:sldMk cId="1552987170" sldId="2147375116"/>
            <ac:spMk id="30" creationId="{F0EE34F3-A4A5-45C3-908F-487A38F9869C}"/>
          </ac:spMkLst>
        </pc:spChg>
        <pc:spChg chg="mod">
          <ac:chgData name="Rajat Taneja" userId="4ec436a0-470b-456a-af42-a15c99f1cebd" providerId="ADAL" clId="{3EA19806-CD64-4375-9EA7-939EDDB50E03}" dt="2022-05-04T06:49:26.265" v="2317" actId="14100"/>
          <ac:spMkLst>
            <pc:docMk/>
            <pc:sldMk cId="1552987170" sldId="2147375116"/>
            <ac:spMk id="31" creationId="{6B66786D-4A57-48C5-9D0C-801478F1D091}"/>
          </ac:spMkLst>
        </pc:spChg>
        <pc:spChg chg="add del mod modVis">
          <ac:chgData name="Rajat Taneja" userId="4ec436a0-470b-456a-af42-a15c99f1cebd" providerId="ADAL" clId="{3EA19806-CD64-4375-9EA7-939EDDB50E03}" dt="2022-05-04T07:55:20.803" v="3040"/>
          <ac:spMkLst>
            <pc:docMk/>
            <pc:sldMk cId="1552987170" sldId="2147375116"/>
            <ac:spMk id="32" creationId="{A01422A2-E0F5-48E8-85CF-33B95486B9BC}"/>
          </ac:spMkLst>
        </pc:spChg>
        <pc:spChg chg="add del mod modVis">
          <ac:chgData name="Rajat Taneja" userId="4ec436a0-470b-456a-af42-a15c99f1cebd" providerId="ADAL" clId="{3EA19806-CD64-4375-9EA7-939EDDB50E03}" dt="2022-05-04T07:55:48.378" v="3087"/>
          <ac:spMkLst>
            <pc:docMk/>
            <pc:sldMk cId="1552987170" sldId="2147375116"/>
            <ac:spMk id="33" creationId="{9EFE5225-24AE-4FBF-9E3A-3ED7F7092152}"/>
          </ac:spMkLst>
        </pc:spChg>
        <pc:spChg chg="mod">
          <ac:chgData name="Rajat Taneja" userId="4ec436a0-470b-456a-af42-a15c99f1cebd" providerId="ADAL" clId="{3EA19806-CD64-4375-9EA7-939EDDB50E03}" dt="2022-05-04T06:50:10.746" v="2381" actId="1038"/>
          <ac:spMkLst>
            <pc:docMk/>
            <pc:sldMk cId="1552987170" sldId="2147375116"/>
            <ac:spMk id="34" creationId="{9E13487F-21FD-4CBB-8463-8319114DE6FE}"/>
          </ac:spMkLst>
        </pc:spChg>
        <pc:spChg chg="mod">
          <ac:chgData name="Rajat Taneja" userId="4ec436a0-470b-456a-af42-a15c99f1cebd" providerId="ADAL" clId="{3EA19806-CD64-4375-9EA7-939EDDB50E03}" dt="2022-05-04T06:50:38.762" v="2408" actId="1037"/>
          <ac:spMkLst>
            <pc:docMk/>
            <pc:sldMk cId="1552987170" sldId="2147375116"/>
            <ac:spMk id="35" creationId="{09AA43FE-2F87-4675-95EF-66B770C7E745}"/>
          </ac:spMkLst>
        </pc:spChg>
        <pc:spChg chg="mod">
          <ac:chgData name="Rajat Taneja" userId="4ec436a0-470b-456a-af42-a15c99f1cebd" providerId="ADAL" clId="{3EA19806-CD64-4375-9EA7-939EDDB50E03}" dt="2022-05-04T06:48:27.101" v="2278" actId="1076"/>
          <ac:spMkLst>
            <pc:docMk/>
            <pc:sldMk cId="1552987170" sldId="2147375116"/>
            <ac:spMk id="36" creationId="{9E7CBF13-98DD-4D10-BC9E-3496AC73B6CE}"/>
          </ac:spMkLst>
        </pc:spChg>
        <pc:spChg chg="mod">
          <ac:chgData name="Rajat Taneja" userId="4ec436a0-470b-456a-af42-a15c99f1cebd" providerId="ADAL" clId="{3EA19806-CD64-4375-9EA7-939EDDB50E03}" dt="2022-05-04T06:49:37.034" v="2334" actId="1037"/>
          <ac:spMkLst>
            <pc:docMk/>
            <pc:sldMk cId="1552987170" sldId="2147375116"/>
            <ac:spMk id="37" creationId="{4DDAE490-5D28-4B19-BEEF-1A082309D6F2}"/>
          </ac:spMkLst>
        </pc:spChg>
        <pc:spChg chg="mod">
          <ac:chgData name="Rajat Taneja" userId="4ec436a0-470b-456a-af42-a15c99f1cebd" providerId="ADAL" clId="{3EA19806-CD64-4375-9EA7-939EDDB50E03}" dt="2022-05-04T07:56:50.745" v="3311" actId="122"/>
          <ac:spMkLst>
            <pc:docMk/>
            <pc:sldMk cId="1552987170" sldId="2147375116"/>
            <ac:spMk id="38" creationId="{E81B1C1D-D398-4C78-8BCE-9A2C789818FB}"/>
          </ac:spMkLst>
        </pc:spChg>
        <pc:spChg chg="add del mod modVis">
          <ac:chgData name="Rajat Taneja" userId="4ec436a0-470b-456a-af42-a15c99f1cebd" providerId="ADAL" clId="{3EA19806-CD64-4375-9EA7-939EDDB50E03}" dt="2022-05-04T07:55:49.609" v="3132"/>
          <ac:spMkLst>
            <pc:docMk/>
            <pc:sldMk cId="1552987170" sldId="2147375116"/>
            <ac:spMk id="39" creationId="{4795DC09-2419-4389-861C-D34D0CBC712C}"/>
          </ac:spMkLst>
        </pc:spChg>
        <pc:spChg chg="del mod">
          <ac:chgData name="Rajat Taneja" userId="4ec436a0-470b-456a-af42-a15c99f1cebd" providerId="ADAL" clId="{3EA19806-CD64-4375-9EA7-939EDDB50E03}" dt="2022-05-04T06:48:32.725" v="2279" actId="478"/>
          <ac:spMkLst>
            <pc:docMk/>
            <pc:sldMk cId="1552987170" sldId="2147375116"/>
            <ac:spMk id="40" creationId="{2C0A89FA-37C1-453F-A917-C0AB42CE5390}"/>
          </ac:spMkLst>
        </pc:spChg>
        <pc:spChg chg="add del mod modVis">
          <ac:chgData name="Rajat Taneja" userId="4ec436a0-470b-456a-af42-a15c99f1cebd" providerId="ADAL" clId="{3EA19806-CD64-4375-9EA7-939EDDB50E03}" dt="2022-05-04T07:55:51.910" v="3181"/>
          <ac:spMkLst>
            <pc:docMk/>
            <pc:sldMk cId="1552987170" sldId="2147375116"/>
            <ac:spMk id="41" creationId="{5B0F4AD9-A264-4D2B-8108-1EBB54C01E1F}"/>
          </ac:spMkLst>
        </pc:spChg>
        <pc:spChg chg="mod">
          <ac:chgData name="Rajat Taneja" userId="4ec436a0-470b-456a-af42-a15c99f1cebd" providerId="ADAL" clId="{3EA19806-CD64-4375-9EA7-939EDDB50E03}" dt="2022-05-04T06:48:27.101" v="2278" actId="1076"/>
          <ac:spMkLst>
            <pc:docMk/>
            <pc:sldMk cId="1552987170" sldId="2147375116"/>
            <ac:spMk id="42" creationId="{F5CCD64A-80BD-4F14-A438-A66C23AE95A0}"/>
          </ac:spMkLst>
        </pc:spChg>
        <pc:spChg chg="add del mod modVis">
          <ac:chgData name="Rajat Taneja" userId="4ec436a0-470b-456a-af42-a15c99f1cebd" providerId="ADAL" clId="{3EA19806-CD64-4375-9EA7-939EDDB50E03}" dt="2022-05-04T07:55:53.199" v="3227"/>
          <ac:spMkLst>
            <pc:docMk/>
            <pc:sldMk cId="1552987170" sldId="2147375116"/>
            <ac:spMk id="43" creationId="{197EB7DC-3D53-4FFB-BF58-88E0E1C6F42F}"/>
          </ac:spMkLst>
        </pc:spChg>
        <pc:spChg chg="add del mod modVis">
          <ac:chgData name="Rajat Taneja" userId="4ec436a0-470b-456a-af42-a15c99f1cebd" providerId="ADAL" clId="{3EA19806-CD64-4375-9EA7-939EDDB50E03}" dt="2022-05-04T07:55:55.582" v="3270"/>
          <ac:spMkLst>
            <pc:docMk/>
            <pc:sldMk cId="1552987170" sldId="2147375116"/>
            <ac:spMk id="44" creationId="{FB9EBA64-02DC-48C9-AF74-58590A6084FE}"/>
          </ac:spMkLst>
        </pc:spChg>
        <pc:spChg chg="mod">
          <ac:chgData name="Rajat Taneja" userId="4ec436a0-470b-456a-af42-a15c99f1cebd" providerId="ADAL" clId="{3EA19806-CD64-4375-9EA7-939EDDB50E03}" dt="2022-05-04T06:50:10.746" v="2381" actId="1038"/>
          <ac:spMkLst>
            <pc:docMk/>
            <pc:sldMk cId="1552987170" sldId="2147375116"/>
            <ac:spMk id="47" creationId="{24D7593B-6ED1-4A9E-9DBE-C88F64DDD914}"/>
          </ac:spMkLst>
        </pc:spChg>
        <pc:spChg chg="del mod">
          <ac:chgData name="Rajat Taneja" userId="4ec436a0-470b-456a-af42-a15c99f1cebd" providerId="ADAL" clId="{3EA19806-CD64-4375-9EA7-939EDDB50E03}" dt="2022-05-04T06:48:32.725" v="2279" actId="478"/>
          <ac:spMkLst>
            <pc:docMk/>
            <pc:sldMk cId="1552987170" sldId="2147375116"/>
            <ac:spMk id="50" creationId="{62D41D01-1826-4876-9EC0-70F969F8E61A}"/>
          </ac:spMkLst>
        </pc:spChg>
        <pc:spChg chg="del mod">
          <ac:chgData name="Rajat Taneja" userId="4ec436a0-470b-456a-af42-a15c99f1cebd" providerId="ADAL" clId="{3EA19806-CD64-4375-9EA7-939EDDB50E03}" dt="2022-05-04T06:48:32.725" v="2279" actId="478"/>
          <ac:spMkLst>
            <pc:docMk/>
            <pc:sldMk cId="1552987170" sldId="2147375116"/>
            <ac:spMk id="52" creationId="{40437A91-51CB-41B3-B853-377D64FDEC1E}"/>
          </ac:spMkLst>
        </pc:spChg>
        <pc:spChg chg="add mod topLvl">
          <ac:chgData name="Rajat Taneja" userId="4ec436a0-470b-456a-af42-a15c99f1cebd" providerId="ADAL" clId="{3EA19806-CD64-4375-9EA7-939EDDB50E03}" dt="2022-05-04T07:54:18.716" v="2793" actId="3064"/>
          <ac:spMkLst>
            <pc:docMk/>
            <pc:sldMk cId="1552987170" sldId="2147375116"/>
            <ac:spMk id="65" creationId="{39490F77-3D1D-4B5D-A2BE-35442373EFDB}"/>
          </ac:spMkLst>
        </pc:spChg>
        <pc:spChg chg="add mod topLvl">
          <ac:chgData name="Rajat Taneja" userId="4ec436a0-470b-456a-af42-a15c99f1cebd" providerId="ADAL" clId="{3EA19806-CD64-4375-9EA7-939EDDB50E03}" dt="2022-05-04T06:59:47.627" v="2792" actId="14100"/>
          <ac:spMkLst>
            <pc:docMk/>
            <pc:sldMk cId="1552987170" sldId="2147375116"/>
            <ac:spMk id="66" creationId="{5145BAFE-0975-41BD-B796-41188A25A2F2}"/>
          </ac:spMkLst>
        </pc:spChg>
        <pc:spChg chg="add mod topLvl">
          <ac:chgData name="Rajat Taneja" userId="4ec436a0-470b-456a-af42-a15c99f1cebd" providerId="ADAL" clId="{3EA19806-CD64-4375-9EA7-939EDDB50E03}" dt="2022-08-15T22:41:31.901" v="3417" actId="20577"/>
          <ac:spMkLst>
            <pc:docMk/>
            <pc:sldMk cId="1552987170" sldId="2147375116"/>
            <ac:spMk id="67" creationId="{B26D986C-6BB9-4AB9-8F78-ECD860C744BC}"/>
          </ac:spMkLst>
        </pc:spChg>
        <pc:spChg chg="add mod topLvl">
          <ac:chgData name="Rajat Taneja" userId="4ec436a0-470b-456a-af42-a15c99f1cebd" providerId="ADAL" clId="{3EA19806-CD64-4375-9EA7-939EDDB50E03}" dt="2022-05-04T07:54:31.445" v="2819" actId="1037"/>
          <ac:spMkLst>
            <pc:docMk/>
            <pc:sldMk cId="1552987170" sldId="2147375116"/>
            <ac:spMk id="69" creationId="{3AA681B2-E359-4D86-AF90-E4FDE5AE757F}"/>
          </ac:spMkLst>
        </pc:spChg>
        <pc:spChg chg="add mod topLvl">
          <ac:chgData name="Rajat Taneja" userId="4ec436a0-470b-456a-af42-a15c99f1cebd" providerId="ADAL" clId="{3EA19806-CD64-4375-9EA7-939EDDB50E03}" dt="2022-05-04T07:54:31.445" v="2819" actId="1037"/>
          <ac:spMkLst>
            <pc:docMk/>
            <pc:sldMk cId="1552987170" sldId="2147375116"/>
            <ac:spMk id="70" creationId="{A314509E-40D2-4F12-8CE9-00EDC9A57867}"/>
          </ac:spMkLst>
        </pc:spChg>
        <pc:spChg chg="add del">
          <ac:chgData name="Rajat Taneja" userId="4ec436a0-470b-456a-af42-a15c99f1cebd" providerId="ADAL" clId="{3EA19806-CD64-4375-9EA7-939EDDB50E03}" dt="2022-05-04T06:48:15.152" v="2277" actId="478"/>
          <ac:spMkLst>
            <pc:docMk/>
            <pc:sldMk cId="1552987170" sldId="2147375116"/>
            <ac:spMk id="84" creationId="{1FBABB76-3F89-4A45-BCCB-FA594F7EA501}"/>
          </ac:spMkLst>
        </pc:spChg>
        <pc:spChg chg="mod">
          <ac:chgData name="Rajat Taneja" userId="4ec436a0-470b-456a-af42-a15c99f1cebd" providerId="ADAL" clId="{3EA19806-CD64-4375-9EA7-939EDDB50E03}" dt="2022-05-04T06:50:25.629" v="2395" actId="14100"/>
          <ac:spMkLst>
            <pc:docMk/>
            <pc:sldMk cId="1552987170" sldId="2147375116"/>
            <ac:spMk id="93" creationId="{9CB271A5-0F24-4B3B-8790-B930085651B5}"/>
          </ac:spMkLst>
        </pc:spChg>
        <pc:spChg chg="mod">
          <ac:chgData name="Rajat Taneja" userId="4ec436a0-470b-456a-af42-a15c99f1cebd" providerId="ADAL" clId="{3EA19806-CD64-4375-9EA7-939EDDB50E03}" dt="2022-05-04T06:48:27.101" v="2278" actId="1076"/>
          <ac:spMkLst>
            <pc:docMk/>
            <pc:sldMk cId="1552987170" sldId="2147375116"/>
            <ac:spMk id="94" creationId="{97A8C190-5100-4D76-A9BE-40CF7E187DDB}"/>
          </ac:spMkLst>
        </pc:spChg>
        <pc:spChg chg="del mod">
          <ac:chgData name="Rajat Taneja" userId="4ec436a0-470b-456a-af42-a15c99f1cebd" providerId="ADAL" clId="{3EA19806-CD64-4375-9EA7-939EDDB50E03}" dt="2022-05-04T06:48:32.725" v="2279" actId="478"/>
          <ac:spMkLst>
            <pc:docMk/>
            <pc:sldMk cId="1552987170" sldId="2147375116"/>
            <ac:spMk id="95" creationId="{DC225856-38A9-455F-BB92-F5F635382507}"/>
          </ac:spMkLst>
        </pc:spChg>
        <pc:spChg chg="mod">
          <ac:chgData name="Rajat Taneja" userId="4ec436a0-470b-456a-af42-a15c99f1cebd" providerId="ADAL" clId="{3EA19806-CD64-4375-9EA7-939EDDB50E03}" dt="2022-05-04T06:48:42.291" v="2280" actId="14100"/>
          <ac:spMkLst>
            <pc:docMk/>
            <pc:sldMk cId="1552987170" sldId="2147375116"/>
            <ac:spMk id="103" creationId="{226EFFCA-4038-4252-B9B7-3A7EF0B5A02D}"/>
          </ac:spMkLst>
        </pc:spChg>
        <pc:spChg chg="add del">
          <ac:chgData name="Rajat Taneja" userId="4ec436a0-470b-456a-af42-a15c99f1cebd" providerId="ADAL" clId="{3EA19806-CD64-4375-9EA7-939EDDB50E03}" dt="2022-05-04T06:48:15.152" v="2277" actId="478"/>
          <ac:spMkLst>
            <pc:docMk/>
            <pc:sldMk cId="1552987170" sldId="2147375116"/>
            <ac:spMk id="104" creationId="{51F8BADB-0D4A-4E47-820D-BFF4F9AB6395}"/>
          </ac:spMkLst>
        </pc:spChg>
        <pc:spChg chg="add del">
          <ac:chgData name="Rajat Taneja" userId="4ec436a0-470b-456a-af42-a15c99f1cebd" providerId="ADAL" clId="{3EA19806-CD64-4375-9EA7-939EDDB50E03}" dt="2022-05-04T06:48:15.152" v="2277" actId="478"/>
          <ac:spMkLst>
            <pc:docMk/>
            <pc:sldMk cId="1552987170" sldId="2147375116"/>
            <ac:spMk id="106" creationId="{CC96438B-F4C9-4038-B11E-99394AB68F70}"/>
          </ac:spMkLst>
        </pc:spChg>
        <pc:spChg chg="mod">
          <ac:chgData name="Rajat Taneja" userId="4ec436a0-470b-456a-af42-a15c99f1cebd" providerId="ADAL" clId="{3EA19806-CD64-4375-9EA7-939EDDB50E03}" dt="2022-05-04T07:56:35.996" v="3309" actId="20577"/>
          <ac:spMkLst>
            <pc:docMk/>
            <pc:sldMk cId="1552987170" sldId="2147375116"/>
            <ac:spMk id="110" creationId="{2C047EF7-7506-4F77-9609-077EAC6BD0F9}"/>
          </ac:spMkLst>
        </pc:spChg>
        <pc:spChg chg="mod">
          <ac:chgData name="Rajat Taneja" userId="4ec436a0-470b-456a-af42-a15c99f1cebd" providerId="ADAL" clId="{3EA19806-CD64-4375-9EA7-939EDDB50E03}" dt="2022-05-04T06:48:42.291" v="2280" actId="14100"/>
          <ac:spMkLst>
            <pc:docMk/>
            <pc:sldMk cId="1552987170" sldId="2147375116"/>
            <ac:spMk id="112" creationId="{AEBAE43B-902B-4071-8D4E-6490821E163A}"/>
          </ac:spMkLst>
        </pc:spChg>
        <pc:spChg chg="mod">
          <ac:chgData name="Rajat Taneja" userId="4ec436a0-470b-456a-af42-a15c99f1cebd" providerId="ADAL" clId="{3EA19806-CD64-4375-9EA7-939EDDB50E03}" dt="2022-05-04T06:48:27.101" v="2278" actId="1076"/>
          <ac:spMkLst>
            <pc:docMk/>
            <pc:sldMk cId="1552987170" sldId="2147375116"/>
            <ac:spMk id="113" creationId="{FF75D321-650A-47AE-A445-6E1FA5CB947C}"/>
          </ac:spMkLst>
        </pc:spChg>
        <pc:spChg chg="mod">
          <ac:chgData name="Rajat Taneja" userId="4ec436a0-470b-456a-af42-a15c99f1cebd" providerId="ADAL" clId="{3EA19806-CD64-4375-9EA7-939EDDB50E03}" dt="2022-05-04T06:48:27.101" v="2278" actId="1076"/>
          <ac:spMkLst>
            <pc:docMk/>
            <pc:sldMk cId="1552987170" sldId="2147375116"/>
            <ac:spMk id="115" creationId="{082A5DD2-7159-4110-96F7-F72DC47DD8B9}"/>
          </ac:spMkLst>
        </pc:spChg>
        <pc:spChg chg="add del">
          <ac:chgData name="Rajat Taneja" userId="4ec436a0-470b-456a-af42-a15c99f1cebd" providerId="ADAL" clId="{3EA19806-CD64-4375-9EA7-939EDDB50E03}" dt="2022-05-04T06:48:15.152" v="2277" actId="478"/>
          <ac:spMkLst>
            <pc:docMk/>
            <pc:sldMk cId="1552987170" sldId="2147375116"/>
            <ac:spMk id="120" creationId="{E9D70F74-A9F4-4CBB-ADF3-2DAA43FA3D17}"/>
          </ac:spMkLst>
        </pc:spChg>
        <pc:spChg chg="mod">
          <ac:chgData name="Rajat Taneja" userId="4ec436a0-470b-456a-af42-a15c99f1cebd" providerId="ADAL" clId="{3EA19806-CD64-4375-9EA7-939EDDB50E03}" dt="2022-05-04T06:48:27.101" v="2278" actId="1076"/>
          <ac:spMkLst>
            <pc:docMk/>
            <pc:sldMk cId="1552987170" sldId="2147375116"/>
            <ac:spMk id="128" creationId="{BB961261-2EA7-4FDD-A466-D61ACFCE9672}"/>
          </ac:spMkLst>
        </pc:spChg>
        <pc:spChg chg="del mod">
          <ac:chgData name="Rajat Taneja" userId="4ec436a0-470b-456a-af42-a15c99f1cebd" providerId="ADAL" clId="{3EA19806-CD64-4375-9EA7-939EDDB50E03}" dt="2022-05-04T06:48:32.725" v="2279" actId="478"/>
          <ac:spMkLst>
            <pc:docMk/>
            <pc:sldMk cId="1552987170" sldId="2147375116"/>
            <ac:spMk id="132" creationId="{EB0D73AC-BBD8-4704-80FB-F7C7ABE51009}"/>
          </ac:spMkLst>
        </pc:spChg>
        <pc:spChg chg="del mod">
          <ac:chgData name="Rajat Taneja" userId="4ec436a0-470b-456a-af42-a15c99f1cebd" providerId="ADAL" clId="{3EA19806-CD64-4375-9EA7-939EDDB50E03}" dt="2022-05-04T06:48:32.725" v="2279" actId="478"/>
          <ac:spMkLst>
            <pc:docMk/>
            <pc:sldMk cId="1552987170" sldId="2147375116"/>
            <ac:spMk id="151" creationId="{5B4DD30A-FF87-4DBC-A429-DE952F4449CD}"/>
          </ac:spMkLst>
        </pc:spChg>
        <pc:spChg chg="del mod">
          <ac:chgData name="Rajat Taneja" userId="4ec436a0-470b-456a-af42-a15c99f1cebd" providerId="ADAL" clId="{3EA19806-CD64-4375-9EA7-939EDDB50E03}" dt="2022-05-04T06:48:32.725" v="2279" actId="478"/>
          <ac:spMkLst>
            <pc:docMk/>
            <pc:sldMk cId="1552987170" sldId="2147375116"/>
            <ac:spMk id="153" creationId="{1ECBE888-BEEA-4ED4-8DAF-BAEDA2E9BC2C}"/>
          </ac:spMkLst>
        </pc:spChg>
        <pc:spChg chg="del mod">
          <ac:chgData name="Rajat Taneja" userId="4ec436a0-470b-456a-af42-a15c99f1cebd" providerId="ADAL" clId="{3EA19806-CD64-4375-9EA7-939EDDB50E03}" dt="2022-05-04T06:48:32.725" v="2279" actId="478"/>
          <ac:spMkLst>
            <pc:docMk/>
            <pc:sldMk cId="1552987170" sldId="2147375116"/>
            <ac:spMk id="154" creationId="{5E2E39AE-395A-4E95-8363-3614651C0534}"/>
          </ac:spMkLst>
        </pc:spChg>
        <pc:spChg chg="add del">
          <ac:chgData name="Rajat Taneja" userId="4ec436a0-470b-456a-af42-a15c99f1cebd" providerId="ADAL" clId="{3EA19806-CD64-4375-9EA7-939EDDB50E03}" dt="2022-05-04T06:48:15.152" v="2277" actId="478"/>
          <ac:spMkLst>
            <pc:docMk/>
            <pc:sldMk cId="1552987170" sldId="2147375116"/>
            <ac:spMk id="156" creationId="{4C779FEB-ADEC-4C3D-9090-21CAD316190D}"/>
          </ac:spMkLst>
        </pc:spChg>
        <pc:spChg chg="add del">
          <ac:chgData name="Rajat Taneja" userId="4ec436a0-470b-456a-af42-a15c99f1cebd" providerId="ADAL" clId="{3EA19806-CD64-4375-9EA7-939EDDB50E03}" dt="2022-05-04T06:48:15.152" v="2277" actId="478"/>
          <ac:spMkLst>
            <pc:docMk/>
            <pc:sldMk cId="1552987170" sldId="2147375116"/>
            <ac:spMk id="158" creationId="{6EA05869-F959-4C7E-ADD5-2D62EAF5BA6A}"/>
          </ac:spMkLst>
        </pc:spChg>
        <pc:spChg chg="add del">
          <ac:chgData name="Rajat Taneja" userId="4ec436a0-470b-456a-af42-a15c99f1cebd" providerId="ADAL" clId="{3EA19806-CD64-4375-9EA7-939EDDB50E03}" dt="2022-05-04T06:48:15.152" v="2277" actId="478"/>
          <ac:spMkLst>
            <pc:docMk/>
            <pc:sldMk cId="1552987170" sldId="2147375116"/>
            <ac:spMk id="160" creationId="{2CF969CD-2607-42A9-A7C4-5FC5DC346539}"/>
          </ac:spMkLst>
        </pc:spChg>
        <pc:spChg chg="add del">
          <ac:chgData name="Rajat Taneja" userId="4ec436a0-470b-456a-af42-a15c99f1cebd" providerId="ADAL" clId="{3EA19806-CD64-4375-9EA7-939EDDB50E03}" dt="2022-05-04T06:48:15.152" v="2277" actId="478"/>
          <ac:spMkLst>
            <pc:docMk/>
            <pc:sldMk cId="1552987170" sldId="2147375116"/>
            <ac:spMk id="161" creationId="{EC58B222-B09F-400B-ABC6-8B3361CD1FDD}"/>
          </ac:spMkLst>
        </pc:spChg>
        <pc:spChg chg="add del">
          <ac:chgData name="Rajat Taneja" userId="4ec436a0-470b-456a-af42-a15c99f1cebd" providerId="ADAL" clId="{3EA19806-CD64-4375-9EA7-939EDDB50E03}" dt="2022-05-04T06:48:15.152" v="2277" actId="478"/>
          <ac:spMkLst>
            <pc:docMk/>
            <pc:sldMk cId="1552987170" sldId="2147375116"/>
            <ac:spMk id="163" creationId="{EEFD878B-C79B-4FCC-80C5-C45F5A2DB311}"/>
          </ac:spMkLst>
        </pc:spChg>
        <pc:spChg chg="add del">
          <ac:chgData name="Rajat Taneja" userId="4ec436a0-470b-456a-af42-a15c99f1cebd" providerId="ADAL" clId="{3EA19806-CD64-4375-9EA7-939EDDB50E03}" dt="2022-05-04T06:48:15.152" v="2277" actId="478"/>
          <ac:spMkLst>
            <pc:docMk/>
            <pc:sldMk cId="1552987170" sldId="2147375116"/>
            <ac:spMk id="164" creationId="{7DD003C8-A3B2-461C-938B-D922DE2ECE62}"/>
          </ac:spMkLst>
        </pc:spChg>
        <pc:grpChg chg="add del mod">
          <ac:chgData name="Rajat Taneja" userId="4ec436a0-470b-456a-af42-a15c99f1cebd" providerId="ADAL" clId="{3EA19806-CD64-4375-9EA7-939EDDB50E03}" dt="2022-05-04T06:59:31.105" v="2769" actId="165"/>
          <ac:grpSpMkLst>
            <pc:docMk/>
            <pc:sldMk cId="1552987170" sldId="2147375116"/>
            <ac:grpSpMk id="17" creationId="{BF8C9905-A8DB-4AA5-90F2-8B93712EE1EE}"/>
          </ac:grpSpMkLst>
        </pc:grpChg>
        <pc:grpChg chg="add del mod">
          <ac:chgData name="Rajat Taneja" userId="4ec436a0-470b-456a-af42-a15c99f1cebd" providerId="ADAL" clId="{3EA19806-CD64-4375-9EA7-939EDDB50E03}" dt="2022-05-04T06:59:31.105" v="2769" actId="165"/>
          <ac:grpSpMkLst>
            <pc:docMk/>
            <pc:sldMk cId="1552987170" sldId="2147375116"/>
            <ac:grpSpMk id="21" creationId="{77C7F5E5-0037-4C9C-BADE-854F4B602B86}"/>
          </ac:grpSpMkLst>
        </pc:grpChg>
        <pc:grpChg chg="add del mod">
          <ac:chgData name="Rajat Taneja" userId="4ec436a0-470b-456a-af42-a15c99f1cebd" providerId="ADAL" clId="{3EA19806-CD64-4375-9EA7-939EDDB50E03}" dt="2022-05-04T06:59:31.105" v="2769" actId="165"/>
          <ac:grpSpMkLst>
            <pc:docMk/>
            <pc:sldMk cId="1552987170" sldId="2147375116"/>
            <ac:grpSpMk id="22" creationId="{C4DDCBD2-F0AB-4990-AB00-F517D7023131}"/>
          </ac:grpSpMkLst>
        </pc:grpChg>
        <pc:grpChg chg="del mod">
          <ac:chgData name="Rajat Taneja" userId="4ec436a0-470b-456a-af42-a15c99f1cebd" providerId="ADAL" clId="{3EA19806-CD64-4375-9EA7-939EDDB50E03}" dt="2022-05-04T06:48:32.725" v="2279" actId="478"/>
          <ac:grpSpMkLst>
            <pc:docMk/>
            <pc:sldMk cId="1552987170" sldId="2147375116"/>
            <ac:grpSpMk id="129" creationId="{F6DC7D54-DC77-4D56-907E-D9EB00676263}"/>
          </ac:grpSpMkLst>
        </pc:grpChg>
        <pc:grpChg chg="del mod">
          <ac:chgData name="Rajat Taneja" userId="4ec436a0-470b-456a-af42-a15c99f1cebd" providerId="ADAL" clId="{3EA19806-CD64-4375-9EA7-939EDDB50E03}" dt="2022-05-04T06:48:32.725" v="2279" actId="478"/>
          <ac:grpSpMkLst>
            <pc:docMk/>
            <pc:sldMk cId="1552987170" sldId="2147375116"/>
            <ac:grpSpMk id="133" creationId="{18BE8549-419E-46A9-8C76-B6F44F0B43BC}"/>
          </ac:grpSpMkLst>
        </pc:grpChg>
        <pc:graphicFrameChg chg="mod">
          <ac:chgData name="Rajat Taneja" userId="4ec436a0-470b-456a-af42-a15c99f1cebd" providerId="ADAL" clId="{3EA19806-CD64-4375-9EA7-939EDDB50E03}" dt="2022-05-04T07:55:55.584" v="3272"/>
          <ac:graphicFrameMkLst>
            <pc:docMk/>
            <pc:sldMk cId="1552987170" sldId="2147375116"/>
            <ac:graphicFrameMk id="5" creationId="{2141AF89-4FCF-4003-B1D4-6E9B348582E6}"/>
          </ac:graphicFrameMkLst>
        </pc:graphicFrameChg>
        <pc:picChg chg="del mod">
          <ac:chgData name="Rajat Taneja" userId="4ec436a0-470b-456a-af42-a15c99f1cebd" providerId="ADAL" clId="{3EA19806-CD64-4375-9EA7-939EDDB50E03}" dt="2022-05-04T06:48:32.725" v="2279" actId="478"/>
          <ac:picMkLst>
            <pc:docMk/>
            <pc:sldMk cId="1552987170" sldId="2147375116"/>
            <ac:picMk id="49" creationId="{A7B44B17-2D06-4972-A428-754AC5ABD5BC}"/>
          </ac:picMkLst>
        </pc:picChg>
        <pc:picChg chg="del mod">
          <ac:chgData name="Rajat Taneja" userId="4ec436a0-470b-456a-af42-a15c99f1cebd" providerId="ADAL" clId="{3EA19806-CD64-4375-9EA7-939EDDB50E03}" dt="2022-05-04T06:48:32.725" v="2279" actId="478"/>
          <ac:picMkLst>
            <pc:docMk/>
            <pc:sldMk cId="1552987170" sldId="2147375116"/>
            <ac:picMk id="54" creationId="{791B54D5-768A-4017-96E3-16353E1391FE}"/>
          </ac:picMkLst>
        </pc:picChg>
        <pc:picChg chg="del mod">
          <ac:chgData name="Rajat Taneja" userId="4ec436a0-470b-456a-af42-a15c99f1cebd" providerId="ADAL" clId="{3EA19806-CD64-4375-9EA7-939EDDB50E03}" dt="2022-05-04T06:48:32.725" v="2279" actId="478"/>
          <ac:picMkLst>
            <pc:docMk/>
            <pc:sldMk cId="1552987170" sldId="2147375116"/>
            <ac:picMk id="55" creationId="{8BE53481-6C10-4EA0-9CB3-D299EE07EDE5}"/>
          </ac:picMkLst>
        </pc:picChg>
        <pc:picChg chg="del mod">
          <ac:chgData name="Rajat Taneja" userId="4ec436a0-470b-456a-af42-a15c99f1cebd" providerId="ADAL" clId="{3EA19806-CD64-4375-9EA7-939EDDB50E03}" dt="2022-05-04T06:48:32.725" v="2279" actId="478"/>
          <ac:picMkLst>
            <pc:docMk/>
            <pc:sldMk cId="1552987170" sldId="2147375116"/>
            <ac:picMk id="96" creationId="{37E4DD43-F16C-4FEB-A58D-695370FC2C61}"/>
          </ac:picMkLst>
        </pc:picChg>
      </pc:sldChg>
      <pc:sldMasterChg chg="delSp mod delSldLayout">
        <pc:chgData name="Rajat Taneja" userId="4ec436a0-470b-456a-af42-a15c99f1cebd" providerId="ADAL" clId="{3EA19806-CD64-4375-9EA7-939EDDB50E03}" dt="2022-04-06T05:22:42.169" v="1933"/>
        <pc:sldMasterMkLst>
          <pc:docMk/>
          <pc:sldMasterMk cId="500213117" sldId="2147483761"/>
        </pc:sldMasterMkLst>
        <pc:spChg chg="del">
          <ac:chgData name="Rajat Taneja" userId="4ec436a0-470b-456a-af42-a15c99f1cebd" providerId="ADAL" clId="{3EA19806-CD64-4375-9EA7-939EDDB50E03}" dt="2022-04-06T05:22:42.169" v="1933"/>
          <ac:spMkLst>
            <pc:docMk/>
            <pc:sldMasterMk cId="500213117" sldId="2147483761"/>
            <ac:spMk id="2" creationId="{BB077E4D-6CF0-4024-8551-40172B94ADE0}"/>
          </ac:spMkLst>
        </pc:spChg>
        <pc:sldLayoutChg chg="del">
          <pc:chgData name="Rajat Taneja" userId="4ec436a0-470b-456a-af42-a15c99f1cebd" providerId="ADAL" clId="{3EA19806-CD64-4375-9EA7-939EDDB50E03}" dt="2022-04-06T01:18:55.431" v="3" actId="47"/>
          <pc:sldLayoutMkLst>
            <pc:docMk/>
            <pc:sldMasterMk cId="500213117" sldId="2147483761"/>
            <pc:sldLayoutMk cId="2859181615" sldId="2147483811"/>
          </pc:sldLayoutMkLst>
        </pc:sldLayoutChg>
      </pc:sldMasterChg>
    </pc:docChg>
  </pc:docChgLst>
  <pc:docChgLst>
    <pc:chgData name="Rajat Taneja" userId="4ec436a0-470b-456a-af42-a15c99f1cebd" providerId="ADAL" clId="{3CFFE7A2-FFBC-49D3-B012-6FC1B0757796}"/>
    <pc:docChg chg="undo custSel addSld delSld modSld sldOrd replTag">
      <pc:chgData name="Rajat Taneja" userId="4ec436a0-470b-456a-af42-a15c99f1cebd" providerId="ADAL" clId="{3CFFE7A2-FFBC-49D3-B012-6FC1B0757796}" dt="2022-04-04T01:23:07.594" v="2785"/>
      <pc:docMkLst>
        <pc:docMk/>
      </pc:docMkLst>
      <pc:sldChg chg="add">
        <pc:chgData name="Rajat Taneja" userId="4ec436a0-470b-456a-af42-a15c99f1cebd" providerId="ADAL" clId="{3CFFE7A2-FFBC-49D3-B012-6FC1B0757796}" dt="2022-04-04T01:19:07.890" v="1970"/>
        <pc:sldMkLst>
          <pc:docMk/>
          <pc:sldMk cId="0" sldId="261"/>
        </pc:sldMkLst>
      </pc:sldChg>
      <pc:sldChg chg="add">
        <pc:chgData name="Rajat Taneja" userId="4ec436a0-470b-456a-af42-a15c99f1cebd" providerId="ADAL" clId="{3CFFE7A2-FFBC-49D3-B012-6FC1B0757796}" dt="2022-04-04T01:19:29.638" v="1971"/>
        <pc:sldMkLst>
          <pc:docMk/>
          <pc:sldMk cId="0" sldId="262"/>
        </pc:sldMkLst>
      </pc:sldChg>
      <pc:sldChg chg="add">
        <pc:chgData name="Rajat Taneja" userId="4ec436a0-470b-456a-af42-a15c99f1cebd" providerId="ADAL" clId="{3CFFE7A2-FFBC-49D3-B012-6FC1B0757796}" dt="2022-04-04T01:19:29.638" v="1971"/>
        <pc:sldMkLst>
          <pc:docMk/>
          <pc:sldMk cId="0" sldId="263"/>
        </pc:sldMkLst>
      </pc:sldChg>
      <pc:sldChg chg="addSp modSp add mod">
        <pc:chgData name="Rajat Taneja" userId="4ec436a0-470b-456a-af42-a15c99f1cebd" providerId="ADAL" clId="{3CFFE7A2-FFBC-49D3-B012-6FC1B0757796}" dt="2022-04-04T01:11:24.125" v="1043" actId="1582"/>
        <pc:sldMkLst>
          <pc:docMk/>
          <pc:sldMk cId="0" sldId="264"/>
        </pc:sldMkLst>
        <pc:spChg chg="add mod">
          <ac:chgData name="Rajat Taneja" userId="4ec436a0-470b-456a-af42-a15c99f1cebd" providerId="ADAL" clId="{3CFFE7A2-FFBC-49D3-B012-6FC1B0757796}" dt="2022-04-04T01:11:24.125" v="1043" actId="1582"/>
          <ac:spMkLst>
            <pc:docMk/>
            <pc:sldMk cId="0" sldId="264"/>
            <ac:spMk id="28" creationId="{E47E4A7C-A85C-476F-84CC-DD3CBBE5B80F}"/>
          </ac:spMkLst>
        </pc:spChg>
      </pc:sldChg>
      <pc:sldChg chg="delSp modSp mod">
        <pc:chgData name="Rajat Taneja" userId="4ec436a0-470b-456a-af42-a15c99f1cebd" providerId="ADAL" clId="{3CFFE7A2-FFBC-49D3-B012-6FC1B0757796}" dt="2022-04-03T23:54:07.219" v="414" actId="1035"/>
        <pc:sldMkLst>
          <pc:docMk/>
          <pc:sldMk cId="2336088511" sldId="1291"/>
        </pc:sldMkLst>
        <pc:spChg chg="del">
          <ac:chgData name="Rajat Taneja" userId="4ec436a0-470b-456a-af42-a15c99f1cebd" providerId="ADAL" clId="{3CFFE7A2-FFBC-49D3-B012-6FC1B0757796}" dt="2022-04-03T23:53:58.974" v="388" actId="478"/>
          <ac:spMkLst>
            <pc:docMk/>
            <pc:sldMk cId="2336088511" sldId="1291"/>
            <ac:spMk id="47" creationId="{4748021D-88FD-4F76-AB87-C2EB34783F30}"/>
          </ac:spMkLst>
        </pc:spChg>
        <pc:spChg chg="mod">
          <ac:chgData name="Rajat Taneja" userId="4ec436a0-470b-456a-af42-a15c99f1cebd" providerId="ADAL" clId="{3CFFE7A2-FFBC-49D3-B012-6FC1B0757796}" dt="2022-04-03T23:54:07.219" v="414" actId="1035"/>
          <ac:spMkLst>
            <pc:docMk/>
            <pc:sldMk cId="2336088511" sldId="1291"/>
            <ac:spMk id="170" creationId="{F6044E97-CCF4-4ABF-B100-8DD58A197432}"/>
          </ac:spMkLst>
        </pc:spChg>
        <pc:spChg chg="del">
          <ac:chgData name="Rajat Taneja" userId="4ec436a0-470b-456a-af42-a15c99f1cebd" providerId="ADAL" clId="{3CFFE7A2-FFBC-49D3-B012-6FC1B0757796}" dt="2022-04-03T23:53:58.974" v="388" actId="478"/>
          <ac:spMkLst>
            <pc:docMk/>
            <pc:sldMk cId="2336088511" sldId="1291"/>
            <ac:spMk id="266" creationId="{32A3C786-AE99-4657-A722-9C5084DB83BB}"/>
          </ac:spMkLst>
        </pc:spChg>
        <pc:spChg chg="del">
          <ac:chgData name="Rajat Taneja" userId="4ec436a0-470b-456a-af42-a15c99f1cebd" providerId="ADAL" clId="{3CFFE7A2-FFBC-49D3-B012-6FC1B0757796}" dt="2022-04-03T23:53:58.974" v="388" actId="478"/>
          <ac:spMkLst>
            <pc:docMk/>
            <pc:sldMk cId="2336088511" sldId="1291"/>
            <ac:spMk id="267" creationId="{3EAA7A60-9883-4261-8A3C-FBA1DC812E98}"/>
          </ac:spMkLst>
        </pc:spChg>
        <pc:spChg chg="del">
          <ac:chgData name="Rajat Taneja" userId="4ec436a0-470b-456a-af42-a15c99f1cebd" providerId="ADAL" clId="{3CFFE7A2-FFBC-49D3-B012-6FC1B0757796}" dt="2022-04-03T23:53:58.974" v="388" actId="478"/>
          <ac:spMkLst>
            <pc:docMk/>
            <pc:sldMk cId="2336088511" sldId="1291"/>
            <ac:spMk id="268" creationId="{2DFD6EFF-6DEF-4331-8B54-65AAFA7427C4}"/>
          </ac:spMkLst>
        </pc:spChg>
        <pc:grpChg chg="del">
          <ac:chgData name="Rajat Taneja" userId="4ec436a0-470b-456a-af42-a15c99f1cebd" providerId="ADAL" clId="{3CFFE7A2-FFBC-49D3-B012-6FC1B0757796}" dt="2022-04-03T23:53:58.974" v="388" actId="478"/>
          <ac:grpSpMkLst>
            <pc:docMk/>
            <pc:sldMk cId="2336088511" sldId="1291"/>
            <ac:grpSpMk id="263" creationId="{517EAA2F-0633-4FA8-9697-0748D4B6978D}"/>
          </ac:grpSpMkLst>
        </pc:grpChg>
        <pc:grpChg chg="mod">
          <ac:chgData name="Rajat Taneja" userId="4ec436a0-470b-456a-af42-a15c99f1cebd" providerId="ADAL" clId="{3CFFE7A2-FFBC-49D3-B012-6FC1B0757796}" dt="2022-04-03T23:54:07.219" v="414" actId="1035"/>
          <ac:grpSpMkLst>
            <pc:docMk/>
            <pc:sldMk cId="2336088511" sldId="1291"/>
            <ac:grpSpMk id="301" creationId="{822668F2-15B7-4848-817A-73B7A6F66BF7}"/>
          </ac:grpSpMkLst>
        </pc:grpChg>
        <pc:picChg chg="del">
          <ac:chgData name="Rajat Taneja" userId="4ec436a0-470b-456a-af42-a15c99f1cebd" providerId="ADAL" clId="{3CFFE7A2-FFBC-49D3-B012-6FC1B0757796}" dt="2022-04-03T23:53:58.974" v="388" actId="478"/>
          <ac:picMkLst>
            <pc:docMk/>
            <pc:sldMk cId="2336088511" sldId="1291"/>
            <ac:picMk id="204" creationId="{6DB51AD3-D282-4398-A2FD-5D67CB0183FA}"/>
          </ac:picMkLst>
        </pc:picChg>
      </pc:sldChg>
      <pc:sldChg chg="add ord">
        <pc:chgData name="Rajat Taneja" userId="4ec436a0-470b-456a-af42-a15c99f1cebd" providerId="ADAL" clId="{3CFFE7A2-FFBC-49D3-B012-6FC1B0757796}" dt="2022-04-04T01:16:31.945" v="1236"/>
        <pc:sldMkLst>
          <pc:docMk/>
          <pc:sldMk cId="1122139608" sldId="2142532628"/>
        </pc:sldMkLst>
      </pc:sldChg>
      <pc:sldChg chg="addSp delSp modSp mod">
        <pc:chgData name="Rajat Taneja" userId="4ec436a0-470b-456a-af42-a15c99f1cebd" providerId="ADAL" clId="{3CFFE7A2-FFBC-49D3-B012-6FC1B0757796}" dt="2022-04-04T01:22:47.582" v="2726" actId="1036"/>
        <pc:sldMkLst>
          <pc:docMk/>
          <pc:sldMk cId="3361734087" sldId="2147375091"/>
        </pc:sldMkLst>
        <pc:spChg chg="mod">
          <ac:chgData name="Rajat Taneja" userId="4ec436a0-470b-456a-af42-a15c99f1cebd" providerId="ADAL" clId="{3CFFE7A2-FFBC-49D3-B012-6FC1B0757796}" dt="2022-04-04T01:22:40.995" v="2713" actId="1036"/>
          <ac:spMkLst>
            <pc:docMk/>
            <pc:sldMk cId="3361734087" sldId="2147375091"/>
            <ac:spMk id="2" creationId="{2733A693-8C87-443A-B27D-70277CB3DF34}"/>
          </ac:spMkLst>
        </pc:spChg>
        <pc:spChg chg="mod">
          <ac:chgData name="Rajat Taneja" userId="4ec436a0-470b-456a-af42-a15c99f1cebd" providerId="ADAL" clId="{3CFFE7A2-FFBC-49D3-B012-6FC1B0757796}" dt="2022-04-04T01:22:07.646" v="2618" actId="948"/>
          <ac:spMkLst>
            <pc:docMk/>
            <pc:sldMk cId="3361734087" sldId="2147375091"/>
            <ac:spMk id="3" creationId="{FAB75CDE-8D2D-46DC-9DE9-1DC77CF9297A}"/>
          </ac:spMkLst>
        </pc:spChg>
        <pc:spChg chg="mod">
          <ac:chgData name="Rajat Taneja" userId="4ec436a0-470b-456a-af42-a15c99f1cebd" providerId="ADAL" clId="{3CFFE7A2-FFBC-49D3-B012-6FC1B0757796}" dt="2022-04-04T01:22:33.318" v="2707" actId="1036"/>
          <ac:spMkLst>
            <pc:docMk/>
            <pc:sldMk cId="3361734087" sldId="2147375091"/>
            <ac:spMk id="5" creationId="{DEC845DF-3110-4071-9D9E-590759F33B7E}"/>
          </ac:spMkLst>
        </pc:spChg>
        <pc:spChg chg="mod">
          <ac:chgData name="Rajat Taneja" userId="4ec436a0-470b-456a-af42-a15c99f1cebd" providerId="ADAL" clId="{3CFFE7A2-FFBC-49D3-B012-6FC1B0757796}" dt="2022-04-04T01:22:33.318" v="2707" actId="1036"/>
          <ac:spMkLst>
            <pc:docMk/>
            <pc:sldMk cId="3361734087" sldId="2147375091"/>
            <ac:spMk id="6" creationId="{39E8A254-DE52-43EA-A6E4-06D41DC4F141}"/>
          </ac:spMkLst>
        </pc:spChg>
        <pc:spChg chg="mod">
          <ac:chgData name="Rajat Taneja" userId="4ec436a0-470b-456a-af42-a15c99f1cebd" providerId="ADAL" clId="{3CFFE7A2-FFBC-49D3-B012-6FC1B0757796}" dt="2022-04-04T01:22:33.318" v="2707" actId="1036"/>
          <ac:spMkLst>
            <pc:docMk/>
            <pc:sldMk cId="3361734087" sldId="2147375091"/>
            <ac:spMk id="7" creationId="{11B26E02-8B88-4CA6-9844-DAABE304B0E3}"/>
          </ac:spMkLst>
        </pc:spChg>
        <pc:spChg chg="add del mod modVis">
          <ac:chgData name="Rajat Taneja" userId="4ec436a0-470b-456a-af42-a15c99f1cebd" providerId="ADAL" clId="{3CFFE7A2-FFBC-49D3-B012-6FC1B0757796}" dt="2022-04-04T01:17:38.842" v="1284"/>
          <ac:spMkLst>
            <pc:docMk/>
            <pc:sldMk cId="3361734087" sldId="2147375091"/>
            <ac:spMk id="8" creationId="{D12B5A96-C951-4DAB-A62F-2FC3DE0217EA}"/>
          </ac:spMkLst>
        </pc:spChg>
        <pc:spChg chg="add del mod modVis">
          <ac:chgData name="Rajat Taneja" userId="4ec436a0-470b-456a-af42-a15c99f1cebd" providerId="ADAL" clId="{3CFFE7A2-FFBC-49D3-B012-6FC1B0757796}" dt="2022-04-04T01:17:41.934" v="1340"/>
          <ac:spMkLst>
            <pc:docMk/>
            <pc:sldMk cId="3361734087" sldId="2147375091"/>
            <ac:spMk id="9" creationId="{E72DD568-737F-4F2D-9975-93C9C315E15C}"/>
          </ac:spMkLst>
        </pc:spChg>
        <pc:spChg chg="add del mod modVis">
          <ac:chgData name="Rajat Taneja" userId="4ec436a0-470b-456a-af42-a15c99f1cebd" providerId="ADAL" clId="{3CFFE7A2-FFBC-49D3-B012-6FC1B0757796}" dt="2022-04-04T01:17:43.387" v="1386"/>
          <ac:spMkLst>
            <pc:docMk/>
            <pc:sldMk cId="3361734087" sldId="2147375091"/>
            <ac:spMk id="10" creationId="{DBD1AA33-6DD4-4CB3-AC66-C50C5437D274}"/>
          </ac:spMkLst>
        </pc:spChg>
        <pc:spChg chg="mod">
          <ac:chgData name="Rajat Taneja" userId="4ec436a0-470b-456a-af42-a15c99f1cebd" providerId="ADAL" clId="{3CFFE7A2-FFBC-49D3-B012-6FC1B0757796}" dt="2022-04-04T01:22:33.318" v="2707" actId="1036"/>
          <ac:spMkLst>
            <pc:docMk/>
            <pc:sldMk cId="3361734087" sldId="2147375091"/>
            <ac:spMk id="11" creationId="{DCE4E409-9DF2-4B80-B855-55C5F2A65C4C}"/>
          </ac:spMkLst>
        </pc:spChg>
        <pc:spChg chg="mod">
          <ac:chgData name="Rajat Taneja" userId="4ec436a0-470b-456a-af42-a15c99f1cebd" providerId="ADAL" clId="{3CFFE7A2-FFBC-49D3-B012-6FC1B0757796}" dt="2022-04-04T01:22:33.318" v="2707" actId="1036"/>
          <ac:spMkLst>
            <pc:docMk/>
            <pc:sldMk cId="3361734087" sldId="2147375091"/>
            <ac:spMk id="12" creationId="{02C7FFE2-A3B4-4CA3-99BD-120A19A57DD4}"/>
          </ac:spMkLst>
        </pc:spChg>
        <pc:spChg chg="mod">
          <ac:chgData name="Rajat Taneja" userId="4ec436a0-470b-456a-af42-a15c99f1cebd" providerId="ADAL" clId="{3CFFE7A2-FFBC-49D3-B012-6FC1B0757796}" dt="2022-04-04T01:22:33.318" v="2707" actId="1036"/>
          <ac:spMkLst>
            <pc:docMk/>
            <pc:sldMk cId="3361734087" sldId="2147375091"/>
            <ac:spMk id="13" creationId="{AF652D32-8D32-4244-823E-72AADD86D35A}"/>
          </ac:spMkLst>
        </pc:spChg>
        <pc:spChg chg="mod">
          <ac:chgData name="Rajat Taneja" userId="4ec436a0-470b-456a-af42-a15c99f1cebd" providerId="ADAL" clId="{3CFFE7A2-FFBC-49D3-B012-6FC1B0757796}" dt="2022-04-04T01:22:33.318" v="2707" actId="1036"/>
          <ac:spMkLst>
            <pc:docMk/>
            <pc:sldMk cId="3361734087" sldId="2147375091"/>
            <ac:spMk id="15" creationId="{626DA745-A25B-4FA2-90BA-4E6518DD15AC}"/>
          </ac:spMkLst>
        </pc:spChg>
        <pc:spChg chg="mod">
          <ac:chgData name="Rajat Taneja" userId="4ec436a0-470b-456a-af42-a15c99f1cebd" providerId="ADAL" clId="{3CFFE7A2-FFBC-49D3-B012-6FC1B0757796}" dt="2022-04-04T01:22:33.318" v="2707" actId="1036"/>
          <ac:spMkLst>
            <pc:docMk/>
            <pc:sldMk cId="3361734087" sldId="2147375091"/>
            <ac:spMk id="17" creationId="{F7B52831-710B-4AA3-9DE8-7EED5900F227}"/>
          </ac:spMkLst>
        </pc:spChg>
        <pc:spChg chg="mod">
          <ac:chgData name="Rajat Taneja" userId="4ec436a0-470b-456a-af42-a15c99f1cebd" providerId="ADAL" clId="{3CFFE7A2-FFBC-49D3-B012-6FC1B0757796}" dt="2022-04-04T01:22:33.318" v="2707" actId="1036"/>
          <ac:spMkLst>
            <pc:docMk/>
            <pc:sldMk cId="3361734087" sldId="2147375091"/>
            <ac:spMk id="18" creationId="{88E5EFFE-9E1A-40FF-A4EF-05D13E240D51}"/>
          </ac:spMkLst>
        </pc:spChg>
        <pc:spChg chg="mod">
          <ac:chgData name="Rajat Taneja" userId="4ec436a0-470b-456a-af42-a15c99f1cebd" providerId="ADAL" clId="{3CFFE7A2-FFBC-49D3-B012-6FC1B0757796}" dt="2022-04-04T01:22:33.318" v="2707" actId="1036"/>
          <ac:spMkLst>
            <pc:docMk/>
            <pc:sldMk cId="3361734087" sldId="2147375091"/>
            <ac:spMk id="19" creationId="{1D135FB5-990B-4435-8FE2-2728069FA31C}"/>
          </ac:spMkLst>
        </pc:spChg>
        <pc:spChg chg="mod">
          <ac:chgData name="Rajat Taneja" userId="4ec436a0-470b-456a-af42-a15c99f1cebd" providerId="ADAL" clId="{3CFFE7A2-FFBC-49D3-B012-6FC1B0757796}" dt="2022-04-04T01:22:33.318" v="2707" actId="1036"/>
          <ac:spMkLst>
            <pc:docMk/>
            <pc:sldMk cId="3361734087" sldId="2147375091"/>
            <ac:spMk id="20" creationId="{F3FFDB6B-C396-4B40-AF18-1257D3ECB20F}"/>
          </ac:spMkLst>
        </pc:spChg>
        <pc:spChg chg="mod">
          <ac:chgData name="Rajat Taneja" userId="4ec436a0-470b-456a-af42-a15c99f1cebd" providerId="ADAL" clId="{3CFFE7A2-FFBC-49D3-B012-6FC1B0757796}" dt="2022-04-04T01:22:33.318" v="2707" actId="1036"/>
          <ac:spMkLst>
            <pc:docMk/>
            <pc:sldMk cId="3361734087" sldId="2147375091"/>
            <ac:spMk id="21" creationId="{9C1FDDF4-64D6-4B14-BBEF-DDA88287DE8C}"/>
          </ac:spMkLst>
        </pc:spChg>
        <pc:spChg chg="mod">
          <ac:chgData name="Rajat Taneja" userId="4ec436a0-470b-456a-af42-a15c99f1cebd" providerId="ADAL" clId="{3CFFE7A2-FFBC-49D3-B012-6FC1B0757796}" dt="2022-04-04T01:22:33.318" v="2707" actId="1036"/>
          <ac:spMkLst>
            <pc:docMk/>
            <pc:sldMk cId="3361734087" sldId="2147375091"/>
            <ac:spMk id="22" creationId="{143C111C-9B55-4247-A452-55CFBDDF4625}"/>
          </ac:spMkLst>
        </pc:spChg>
        <pc:spChg chg="mod">
          <ac:chgData name="Rajat Taneja" userId="4ec436a0-470b-456a-af42-a15c99f1cebd" providerId="ADAL" clId="{3CFFE7A2-FFBC-49D3-B012-6FC1B0757796}" dt="2022-04-04T01:22:33.318" v="2707" actId="1036"/>
          <ac:spMkLst>
            <pc:docMk/>
            <pc:sldMk cId="3361734087" sldId="2147375091"/>
            <ac:spMk id="23" creationId="{E98BDA5F-CF54-440A-94CD-2666FCE53E7E}"/>
          </ac:spMkLst>
        </pc:spChg>
        <pc:spChg chg="add del mod modVis">
          <ac:chgData name="Rajat Taneja" userId="4ec436a0-470b-456a-af42-a15c99f1cebd" providerId="ADAL" clId="{3CFFE7A2-FFBC-49D3-B012-6FC1B0757796}" dt="2022-04-04T01:17:46.179" v="1437"/>
          <ac:spMkLst>
            <pc:docMk/>
            <pc:sldMk cId="3361734087" sldId="2147375091"/>
            <ac:spMk id="27" creationId="{98D66DDA-68AC-40D2-9B1D-1526F86590AB}"/>
          </ac:spMkLst>
        </pc:spChg>
        <pc:spChg chg="add del mod modVis">
          <ac:chgData name="Rajat Taneja" userId="4ec436a0-470b-456a-af42-a15c99f1cebd" providerId="ADAL" clId="{3CFFE7A2-FFBC-49D3-B012-6FC1B0757796}" dt="2022-04-04T01:17:46.903" v="1483"/>
          <ac:spMkLst>
            <pc:docMk/>
            <pc:sldMk cId="3361734087" sldId="2147375091"/>
            <ac:spMk id="28" creationId="{42DB81DC-59C8-4A34-BAE0-4AE25D7222FA}"/>
          </ac:spMkLst>
        </pc:spChg>
        <pc:spChg chg="add del mod modVis">
          <ac:chgData name="Rajat Taneja" userId="4ec436a0-470b-456a-af42-a15c99f1cebd" providerId="ADAL" clId="{3CFFE7A2-FFBC-49D3-B012-6FC1B0757796}" dt="2022-04-04T01:17:49.655" v="1537"/>
          <ac:spMkLst>
            <pc:docMk/>
            <pc:sldMk cId="3361734087" sldId="2147375091"/>
            <ac:spMk id="29" creationId="{F9F1AA3D-B024-4946-A8A5-D7D710973B42}"/>
          </ac:spMkLst>
        </pc:spChg>
        <pc:spChg chg="add del mod modVis">
          <ac:chgData name="Rajat Taneja" userId="4ec436a0-470b-456a-af42-a15c99f1cebd" providerId="ADAL" clId="{3CFFE7A2-FFBC-49D3-B012-6FC1B0757796}" dt="2022-04-04T01:17:51.216" v="1581"/>
          <ac:spMkLst>
            <pc:docMk/>
            <pc:sldMk cId="3361734087" sldId="2147375091"/>
            <ac:spMk id="30" creationId="{AB15CD6D-22E0-453F-9AE0-0A2E24E8D904}"/>
          </ac:spMkLst>
        </pc:spChg>
        <pc:spChg chg="mod">
          <ac:chgData name="Rajat Taneja" userId="4ec436a0-470b-456a-af42-a15c99f1cebd" providerId="ADAL" clId="{3CFFE7A2-FFBC-49D3-B012-6FC1B0757796}" dt="2022-04-04T01:22:33.318" v="2707" actId="1036"/>
          <ac:spMkLst>
            <pc:docMk/>
            <pc:sldMk cId="3361734087" sldId="2147375091"/>
            <ac:spMk id="31" creationId="{D146F8F8-D901-4E89-B226-9C420438E5A2}"/>
          </ac:spMkLst>
        </pc:spChg>
        <pc:spChg chg="mod">
          <ac:chgData name="Rajat Taneja" userId="4ec436a0-470b-456a-af42-a15c99f1cebd" providerId="ADAL" clId="{3CFFE7A2-FFBC-49D3-B012-6FC1B0757796}" dt="2022-04-04T01:22:33.318" v="2707" actId="1036"/>
          <ac:spMkLst>
            <pc:docMk/>
            <pc:sldMk cId="3361734087" sldId="2147375091"/>
            <ac:spMk id="32" creationId="{258FB9A1-F346-46AE-BD65-64CE97FBCA9B}"/>
          </ac:spMkLst>
        </pc:spChg>
        <pc:spChg chg="mod">
          <ac:chgData name="Rajat Taneja" userId="4ec436a0-470b-456a-af42-a15c99f1cebd" providerId="ADAL" clId="{3CFFE7A2-FFBC-49D3-B012-6FC1B0757796}" dt="2022-04-04T01:22:33.318" v="2707" actId="1036"/>
          <ac:spMkLst>
            <pc:docMk/>
            <pc:sldMk cId="3361734087" sldId="2147375091"/>
            <ac:spMk id="33" creationId="{9788B5FE-037C-4390-9678-57A2632565CE}"/>
          </ac:spMkLst>
        </pc:spChg>
        <pc:spChg chg="add del mod modVis">
          <ac:chgData name="Rajat Taneja" userId="4ec436a0-470b-456a-af42-a15c99f1cebd" providerId="ADAL" clId="{3CFFE7A2-FFBC-49D3-B012-6FC1B0757796}" dt="2022-04-04T01:18:28.494" v="1923"/>
          <ac:spMkLst>
            <pc:docMk/>
            <pc:sldMk cId="3361734087" sldId="2147375091"/>
            <ac:spMk id="37" creationId="{45DCA81E-8B77-456A-8649-B7B4587BC71A}"/>
          </ac:spMkLst>
        </pc:spChg>
        <pc:spChg chg="mod">
          <ac:chgData name="Rajat Taneja" userId="4ec436a0-470b-456a-af42-a15c99f1cebd" providerId="ADAL" clId="{3CFFE7A2-FFBC-49D3-B012-6FC1B0757796}" dt="2022-04-04T01:22:33.318" v="2707" actId="1036"/>
          <ac:spMkLst>
            <pc:docMk/>
            <pc:sldMk cId="3361734087" sldId="2147375091"/>
            <ac:spMk id="38" creationId="{12FDE384-231C-4D94-B847-C88F8575552D}"/>
          </ac:spMkLst>
        </pc:spChg>
        <pc:spChg chg="mod">
          <ac:chgData name="Rajat Taneja" userId="4ec436a0-470b-456a-af42-a15c99f1cebd" providerId="ADAL" clId="{3CFFE7A2-FFBC-49D3-B012-6FC1B0757796}" dt="2022-04-04T01:22:33.318" v="2707" actId="1036"/>
          <ac:spMkLst>
            <pc:docMk/>
            <pc:sldMk cId="3361734087" sldId="2147375091"/>
            <ac:spMk id="39" creationId="{DF9386C8-AD52-4E91-9EB6-937762A79A7C}"/>
          </ac:spMkLst>
        </pc:spChg>
        <pc:spChg chg="del mod">
          <ac:chgData name="Rajat Taneja" userId="4ec436a0-470b-456a-af42-a15c99f1cebd" providerId="ADAL" clId="{3CFFE7A2-FFBC-49D3-B012-6FC1B0757796}" dt="2022-04-04T00:48:33.575" v="924" actId="478"/>
          <ac:spMkLst>
            <pc:docMk/>
            <pc:sldMk cId="3361734087" sldId="2147375091"/>
            <ac:spMk id="40" creationId="{7F6E81E1-33B3-40D7-82A7-C42E6A7E8413}"/>
          </ac:spMkLst>
        </pc:spChg>
        <pc:spChg chg="add del mod modVis">
          <ac:chgData name="Rajat Taneja" userId="4ec436a0-470b-456a-af42-a15c99f1cebd" providerId="ADAL" clId="{3CFFE7A2-FFBC-49D3-B012-6FC1B0757796}" dt="2022-04-04T01:18:29.374" v="1967"/>
          <ac:spMkLst>
            <pc:docMk/>
            <pc:sldMk cId="3361734087" sldId="2147375091"/>
            <ac:spMk id="41" creationId="{CF9D57DE-EC2F-4762-90F2-59F9315D6F93}"/>
          </ac:spMkLst>
        </pc:spChg>
        <pc:spChg chg="mod">
          <ac:chgData name="Rajat Taneja" userId="4ec436a0-470b-456a-af42-a15c99f1cebd" providerId="ADAL" clId="{3CFFE7A2-FFBC-49D3-B012-6FC1B0757796}" dt="2022-04-04T01:22:33.318" v="2707" actId="1036"/>
          <ac:spMkLst>
            <pc:docMk/>
            <pc:sldMk cId="3361734087" sldId="2147375091"/>
            <ac:spMk id="42" creationId="{F6D33DC5-F764-4B58-8C5C-F0A0B2D58274}"/>
          </ac:spMkLst>
        </pc:spChg>
        <pc:spChg chg="add del mod modVis">
          <ac:chgData name="Rajat Taneja" userId="4ec436a0-470b-456a-af42-a15c99f1cebd" providerId="ADAL" clId="{3CFFE7A2-FFBC-49D3-B012-6FC1B0757796}" dt="2022-04-04T01:20:47.128" v="2018"/>
          <ac:spMkLst>
            <pc:docMk/>
            <pc:sldMk cId="3361734087" sldId="2147375091"/>
            <ac:spMk id="43" creationId="{886DAC3A-1CA9-41C2-AFEE-641B903A2372}"/>
          </ac:spMkLst>
        </pc:spChg>
        <pc:spChg chg="mod">
          <ac:chgData name="Rajat Taneja" userId="4ec436a0-470b-456a-af42-a15c99f1cebd" providerId="ADAL" clId="{3CFFE7A2-FFBC-49D3-B012-6FC1B0757796}" dt="2022-04-04T01:22:47.582" v="2726" actId="1036"/>
          <ac:spMkLst>
            <pc:docMk/>
            <pc:sldMk cId="3361734087" sldId="2147375091"/>
            <ac:spMk id="44" creationId="{EFB44A34-3164-4DB6-8EF4-E8FF1AB2BC47}"/>
          </ac:spMkLst>
        </pc:spChg>
        <pc:spChg chg="add del mod modVis">
          <ac:chgData name="Rajat Taneja" userId="4ec436a0-470b-456a-af42-a15c99f1cebd" providerId="ADAL" clId="{3CFFE7A2-FFBC-49D3-B012-6FC1B0757796}" dt="2022-04-04T01:20:50.685" v="2062"/>
          <ac:spMkLst>
            <pc:docMk/>
            <pc:sldMk cId="3361734087" sldId="2147375091"/>
            <ac:spMk id="46" creationId="{8F277C3C-51E0-413E-850F-136E28E5B8DA}"/>
          </ac:spMkLst>
        </pc:spChg>
        <pc:spChg chg="add del mod modVis">
          <ac:chgData name="Rajat Taneja" userId="4ec436a0-470b-456a-af42-a15c99f1cebd" providerId="ADAL" clId="{3CFFE7A2-FFBC-49D3-B012-6FC1B0757796}" dt="2022-04-04T01:20:54.545" v="2108"/>
          <ac:spMkLst>
            <pc:docMk/>
            <pc:sldMk cId="3361734087" sldId="2147375091"/>
            <ac:spMk id="47" creationId="{9C1ED3DB-C7F4-4D43-9910-596B96EBEC3A}"/>
          </ac:spMkLst>
        </pc:spChg>
        <pc:spChg chg="mod">
          <ac:chgData name="Rajat Taneja" userId="4ec436a0-470b-456a-af42-a15c99f1cebd" providerId="ADAL" clId="{3CFFE7A2-FFBC-49D3-B012-6FC1B0757796}" dt="2022-04-04T01:22:33.318" v="2707" actId="1036"/>
          <ac:spMkLst>
            <pc:docMk/>
            <pc:sldMk cId="3361734087" sldId="2147375091"/>
            <ac:spMk id="48" creationId="{325E2361-F3B1-4AB9-81BC-3D3E52C2C667}"/>
          </ac:spMkLst>
        </pc:spChg>
        <pc:spChg chg="mod">
          <ac:chgData name="Rajat Taneja" userId="4ec436a0-470b-456a-af42-a15c99f1cebd" providerId="ADAL" clId="{3CFFE7A2-FFBC-49D3-B012-6FC1B0757796}" dt="2022-04-04T01:22:33.318" v="2707" actId="1036"/>
          <ac:spMkLst>
            <pc:docMk/>
            <pc:sldMk cId="3361734087" sldId="2147375091"/>
            <ac:spMk id="49" creationId="{074F6466-D88E-49D1-B258-AF1451926D45}"/>
          </ac:spMkLst>
        </pc:spChg>
        <pc:spChg chg="mod">
          <ac:chgData name="Rajat Taneja" userId="4ec436a0-470b-456a-af42-a15c99f1cebd" providerId="ADAL" clId="{3CFFE7A2-FFBC-49D3-B012-6FC1B0757796}" dt="2022-04-04T01:22:33.318" v="2707" actId="1036"/>
          <ac:spMkLst>
            <pc:docMk/>
            <pc:sldMk cId="3361734087" sldId="2147375091"/>
            <ac:spMk id="50" creationId="{DE29B900-6C96-4424-A37E-8BA77A029D83}"/>
          </ac:spMkLst>
        </pc:spChg>
        <pc:spChg chg="mod">
          <ac:chgData name="Rajat Taneja" userId="4ec436a0-470b-456a-af42-a15c99f1cebd" providerId="ADAL" clId="{3CFFE7A2-FFBC-49D3-B012-6FC1B0757796}" dt="2022-04-04T01:22:33.318" v="2707" actId="1036"/>
          <ac:spMkLst>
            <pc:docMk/>
            <pc:sldMk cId="3361734087" sldId="2147375091"/>
            <ac:spMk id="51" creationId="{DBA40CF7-52D2-4020-8B50-BA5BE02B87C9}"/>
          </ac:spMkLst>
        </pc:spChg>
        <pc:spChg chg="mod">
          <ac:chgData name="Rajat Taneja" userId="4ec436a0-470b-456a-af42-a15c99f1cebd" providerId="ADAL" clId="{3CFFE7A2-FFBC-49D3-B012-6FC1B0757796}" dt="2022-04-04T01:22:33.318" v="2707" actId="1036"/>
          <ac:spMkLst>
            <pc:docMk/>
            <pc:sldMk cId="3361734087" sldId="2147375091"/>
            <ac:spMk id="54" creationId="{C6BBE4A3-62B3-460C-B048-102674A9756B}"/>
          </ac:spMkLst>
        </pc:spChg>
        <pc:spChg chg="add mod">
          <ac:chgData name="Rajat Taneja" userId="4ec436a0-470b-456a-af42-a15c99f1cebd" providerId="ADAL" clId="{3CFFE7A2-FFBC-49D3-B012-6FC1B0757796}" dt="2022-04-04T01:22:33.318" v="2707" actId="1036"/>
          <ac:spMkLst>
            <pc:docMk/>
            <pc:sldMk cId="3361734087" sldId="2147375091"/>
            <ac:spMk id="61" creationId="{1BA8E394-7046-41F3-AB0B-3BD2518B922D}"/>
          </ac:spMkLst>
        </pc:spChg>
        <pc:spChg chg="add del mod">
          <ac:chgData name="Rajat Taneja" userId="4ec436a0-470b-456a-af42-a15c99f1cebd" providerId="ADAL" clId="{3CFFE7A2-FFBC-49D3-B012-6FC1B0757796}" dt="2022-04-04T00:48:31.443" v="923" actId="478"/>
          <ac:spMkLst>
            <pc:docMk/>
            <pc:sldMk cId="3361734087" sldId="2147375091"/>
            <ac:spMk id="62" creationId="{57B93714-2DE2-4B20-9B36-07223C1D4E96}"/>
          </ac:spMkLst>
        </pc:spChg>
        <pc:spChg chg="add mod">
          <ac:chgData name="Rajat Taneja" userId="4ec436a0-470b-456a-af42-a15c99f1cebd" providerId="ADAL" clId="{3CFFE7A2-FFBC-49D3-B012-6FC1B0757796}" dt="2022-04-04T01:22:33.318" v="2707" actId="1036"/>
          <ac:spMkLst>
            <pc:docMk/>
            <pc:sldMk cId="3361734087" sldId="2147375091"/>
            <ac:spMk id="63" creationId="{50EE2B82-80DB-4237-8F3A-AD2A885E8BA8}"/>
          </ac:spMkLst>
        </pc:spChg>
        <pc:spChg chg="add mod">
          <ac:chgData name="Rajat Taneja" userId="4ec436a0-470b-456a-af42-a15c99f1cebd" providerId="ADAL" clId="{3CFFE7A2-FFBC-49D3-B012-6FC1B0757796}" dt="2022-04-04T01:22:33.318" v="2707" actId="1036"/>
          <ac:spMkLst>
            <pc:docMk/>
            <pc:sldMk cId="3361734087" sldId="2147375091"/>
            <ac:spMk id="64" creationId="{92ECB7F9-4CC6-473E-A78B-0D87AC7DC559}"/>
          </ac:spMkLst>
        </pc:spChg>
        <pc:spChg chg="add mod">
          <ac:chgData name="Rajat Taneja" userId="4ec436a0-470b-456a-af42-a15c99f1cebd" providerId="ADAL" clId="{3CFFE7A2-FFBC-49D3-B012-6FC1B0757796}" dt="2022-04-04T01:22:33.318" v="2707" actId="1036"/>
          <ac:spMkLst>
            <pc:docMk/>
            <pc:sldMk cId="3361734087" sldId="2147375091"/>
            <ac:spMk id="65" creationId="{A71701F0-1CF5-400F-B141-915A1CB44587}"/>
          </ac:spMkLst>
        </pc:spChg>
        <pc:spChg chg="add mod">
          <ac:chgData name="Rajat Taneja" userId="4ec436a0-470b-456a-af42-a15c99f1cebd" providerId="ADAL" clId="{3CFFE7A2-FFBC-49D3-B012-6FC1B0757796}" dt="2022-04-04T01:22:33.318" v="2707" actId="1036"/>
          <ac:spMkLst>
            <pc:docMk/>
            <pc:sldMk cId="3361734087" sldId="2147375091"/>
            <ac:spMk id="66" creationId="{588FC83C-0905-472E-AE01-E998128AD3A4}"/>
          </ac:spMkLst>
        </pc:spChg>
        <pc:spChg chg="add del mod modVis">
          <ac:chgData name="Rajat Taneja" userId="4ec436a0-470b-456a-af42-a15c99f1cebd" providerId="ADAL" clId="{3CFFE7A2-FFBC-49D3-B012-6FC1B0757796}" dt="2022-04-04T01:20:56.922" v="2158"/>
          <ac:spMkLst>
            <pc:docMk/>
            <pc:sldMk cId="3361734087" sldId="2147375091"/>
            <ac:spMk id="67" creationId="{5EF99A22-7D38-4889-9890-0B646D5E3370}"/>
          </ac:spMkLst>
        </pc:spChg>
        <pc:spChg chg="mod">
          <ac:chgData name="Rajat Taneja" userId="4ec436a0-470b-456a-af42-a15c99f1cebd" providerId="ADAL" clId="{3CFFE7A2-FFBC-49D3-B012-6FC1B0757796}" dt="2022-04-04T01:22:33.318" v="2707" actId="1036"/>
          <ac:spMkLst>
            <pc:docMk/>
            <pc:sldMk cId="3361734087" sldId="2147375091"/>
            <ac:spMk id="68" creationId="{57E15B8F-728A-4A00-8ECB-CB8F654DCD90}"/>
          </ac:spMkLst>
        </pc:spChg>
        <pc:spChg chg="add del mod modVis">
          <ac:chgData name="Rajat Taneja" userId="4ec436a0-470b-456a-af42-a15c99f1cebd" providerId="ADAL" clId="{3CFFE7A2-FFBC-49D3-B012-6FC1B0757796}" dt="2022-04-04T01:20:59.845" v="2211"/>
          <ac:spMkLst>
            <pc:docMk/>
            <pc:sldMk cId="3361734087" sldId="2147375091"/>
            <ac:spMk id="72" creationId="{FA4152B3-91E5-400D-B72B-9447C4C6BC57}"/>
          </ac:spMkLst>
        </pc:spChg>
        <pc:spChg chg="add del mod modVis">
          <ac:chgData name="Rajat Taneja" userId="4ec436a0-470b-456a-af42-a15c99f1cebd" providerId="ADAL" clId="{3CFFE7A2-FFBC-49D3-B012-6FC1B0757796}" dt="2022-04-04T01:21:05.104" v="2273"/>
          <ac:spMkLst>
            <pc:docMk/>
            <pc:sldMk cId="3361734087" sldId="2147375091"/>
            <ac:spMk id="73" creationId="{3709751A-FC83-404E-8F01-632FE9A3C81C}"/>
          </ac:spMkLst>
        </pc:spChg>
        <pc:spChg chg="add del mod modVis">
          <ac:chgData name="Rajat Taneja" userId="4ec436a0-470b-456a-af42-a15c99f1cebd" providerId="ADAL" clId="{3CFFE7A2-FFBC-49D3-B012-6FC1B0757796}" dt="2022-04-04T01:21:08.277" v="2320"/>
          <ac:spMkLst>
            <pc:docMk/>
            <pc:sldMk cId="3361734087" sldId="2147375091"/>
            <ac:spMk id="74" creationId="{69A43DAA-7624-4093-AA46-0F87663CABC2}"/>
          </ac:spMkLst>
        </pc:spChg>
        <pc:spChg chg="del mod">
          <ac:chgData name="Rajat Taneja" userId="4ec436a0-470b-456a-af42-a15c99f1cebd" providerId="ADAL" clId="{3CFFE7A2-FFBC-49D3-B012-6FC1B0757796}" dt="2022-04-04T00:47:52.203" v="865" actId="478"/>
          <ac:spMkLst>
            <pc:docMk/>
            <pc:sldMk cId="3361734087" sldId="2147375091"/>
            <ac:spMk id="75" creationId="{66376735-9473-44D7-A9F5-8A99BAE76CC0}"/>
          </ac:spMkLst>
        </pc:spChg>
        <pc:spChg chg="del mod">
          <ac:chgData name="Rajat Taneja" userId="4ec436a0-470b-456a-af42-a15c99f1cebd" providerId="ADAL" clId="{3CFFE7A2-FFBC-49D3-B012-6FC1B0757796}" dt="2022-04-04T00:47:55.784" v="866" actId="478"/>
          <ac:spMkLst>
            <pc:docMk/>
            <pc:sldMk cId="3361734087" sldId="2147375091"/>
            <ac:spMk id="76" creationId="{D70D6EC1-850A-4279-B39D-C4D42B19EF52}"/>
          </ac:spMkLst>
        </pc:spChg>
        <pc:spChg chg="add del mod modVis">
          <ac:chgData name="Rajat Taneja" userId="4ec436a0-470b-456a-af42-a15c99f1cebd" providerId="ADAL" clId="{3CFFE7A2-FFBC-49D3-B012-6FC1B0757796}" dt="2022-04-04T01:21:10.045" v="2367"/>
          <ac:spMkLst>
            <pc:docMk/>
            <pc:sldMk cId="3361734087" sldId="2147375091"/>
            <ac:spMk id="77" creationId="{D8B6FBE2-EDF9-4117-A44B-6D5F90D61F5D}"/>
          </ac:spMkLst>
        </pc:spChg>
        <pc:spChg chg="add del mod modVis">
          <ac:chgData name="Rajat Taneja" userId="4ec436a0-470b-456a-af42-a15c99f1cebd" providerId="ADAL" clId="{3CFFE7A2-FFBC-49D3-B012-6FC1B0757796}" dt="2022-04-04T01:21:11.195" v="2412"/>
          <ac:spMkLst>
            <pc:docMk/>
            <pc:sldMk cId="3361734087" sldId="2147375091"/>
            <ac:spMk id="78" creationId="{12CB6074-C0CC-4CD0-9543-5698A35029FA}"/>
          </ac:spMkLst>
        </pc:spChg>
        <pc:spChg chg="add del mod modVis">
          <ac:chgData name="Rajat Taneja" userId="4ec436a0-470b-456a-af42-a15c99f1cebd" providerId="ADAL" clId="{3CFFE7A2-FFBC-49D3-B012-6FC1B0757796}" dt="2022-04-04T01:21:12.839" v="2461"/>
          <ac:spMkLst>
            <pc:docMk/>
            <pc:sldMk cId="3361734087" sldId="2147375091"/>
            <ac:spMk id="79" creationId="{0D893588-693D-4F8E-998D-F7D813F27A32}"/>
          </ac:spMkLst>
        </pc:spChg>
        <pc:spChg chg="add del mod modVis">
          <ac:chgData name="Rajat Taneja" userId="4ec436a0-470b-456a-af42-a15c99f1cebd" providerId="ADAL" clId="{3CFFE7A2-FFBC-49D3-B012-6FC1B0757796}" dt="2022-04-04T01:21:15.565" v="2516"/>
          <ac:spMkLst>
            <pc:docMk/>
            <pc:sldMk cId="3361734087" sldId="2147375091"/>
            <ac:spMk id="80" creationId="{5BC92AD9-448E-43E0-9D2A-84C94D1A5180}"/>
          </ac:spMkLst>
        </pc:spChg>
        <pc:spChg chg="add del mod modVis">
          <ac:chgData name="Rajat Taneja" userId="4ec436a0-470b-456a-af42-a15c99f1cebd" providerId="ADAL" clId="{3CFFE7A2-FFBC-49D3-B012-6FC1B0757796}" dt="2022-04-04T01:21:57.876" v="2614"/>
          <ac:spMkLst>
            <pc:docMk/>
            <pc:sldMk cId="3361734087" sldId="2147375091"/>
            <ac:spMk id="81" creationId="{A59A6EE5-4546-4418-9AC7-C3DE948516D2}"/>
          </ac:spMkLst>
        </pc:spChg>
        <pc:spChg chg="add del mod modVis">
          <ac:chgData name="Rajat Taneja" userId="4ec436a0-470b-456a-af42-a15c99f1cebd" providerId="ADAL" clId="{3CFFE7A2-FFBC-49D3-B012-6FC1B0757796}" dt="2022-04-04T01:22:07.770" v="2688"/>
          <ac:spMkLst>
            <pc:docMk/>
            <pc:sldMk cId="3361734087" sldId="2147375091"/>
            <ac:spMk id="82" creationId="{8CA5F950-D9E0-4E22-A8A8-8CCC10C68EC8}"/>
          </ac:spMkLst>
        </pc:spChg>
        <pc:grpChg chg="mod">
          <ac:chgData name="Rajat Taneja" userId="4ec436a0-470b-456a-af42-a15c99f1cebd" providerId="ADAL" clId="{3CFFE7A2-FFBC-49D3-B012-6FC1B0757796}" dt="2022-04-04T01:22:33.318" v="2707" actId="1036"/>
          <ac:grpSpMkLst>
            <pc:docMk/>
            <pc:sldMk cId="3361734087" sldId="2147375091"/>
            <ac:grpSpMk id="24" creationId="{2486AEC5-AA4D-4699-A552-6D5404A0B609}"/>
          </ac:grpSpMkLst>
        </pc:grpChg>
        <pc:grpChg chg="mod">
          <ac:chgData name="Rajat Taneja" userId="4ec436a0-470b-456a-af42-a15c99f1cebd" providerId="ADAL" clId="{3CFFE7A2-FFBC-49D3-B012-6FC1B0757796}" dt="2022-04-04T01:22:33.318" v="2707" actId="1036"/>
          <ac:grpSpMkLst>
            <pc:docMk/>
            <pc:sldMk cId="3361734087" sldId="2147375091"/>
            <ac:grpSpMk id="34" creationId="{779364CA-ACD8-4304-905C-6593A8BD8B96}"/>
          </ac:grpSpMkLst>
        </pc:grpChg>
        <pc:grpChg chg="mod">
          <ac:chgData name="Rajat Taneja" userId="4ec436a0-470b-456a-af42-a15c99f1cebd" providerId="ADAL" clId="{3CFFE7A2-FFBC-49D3-B012-6FC1B0757796}" dt="2022-04-04T01:22:33.318" v="2707" actId="1036"/>
          <ac:grpSpMkLst>
            <pc:docMk/>
            <pc:sldMk cId="3361734087" sldId="2147375091"/>
            <ac:grpSpMk id="55" creationId="{CAF794AC-AAB9-427C-BC69-F37C0B536278}"/>
          </ac:grpSpMkLst>
        </pc:grpChg>
        <pc:graphicFrameChg chg="mod modGraphic">
          <ac:chgData name="Rajat Taneja" userId="4ec436a0-470b-456a-af42-a15c99f1cebd" providerId="ADAL" clId="{3CFFE7A2-FFBC-49D3-B012-6FC1B0757796}" dt="2022-04-04T01:22:47.582" v="2726" actId="1036"/>
          <ac:graphicFrameMkLst>
            <pc:docMk/>
            <pc:sldMk cId="3361734087" sldId="2147375091"/>
            <ac:graphicFrameMk id="45" creationId="{0A052406-B233-40F5-BF43-B378CA9061D4}"/>
          </ac:graphicFrameMkLst>
        </pc:graphicFrameChg>
        <pc:graphicFrameChg chg="mod">
          <ac:chgData name="Rajat Taneja" userId="4ec436a0-470b-456a-af42-a15c99f1cebd" providerId="ADAL" clId="{3CFFE7A2-FFBC-49D3-B012-6FC1B0757796}" dt="2022-04-04T01:22:07.772" v="2690"/>
          <ac:graphicFrameMkLst>
            <pc:docMk/>
            <pc:sldMk cId="3361734087" sldId="2147375091"/>
            <ac:graphicFrameMk id="71" creationId="{61469C00-88E0-495A-B075-9691A4808FE8}"/>
          </ac:graphicFrameMkLst>
        </pc:graphicFrameChg>
        <pc:cxnChg chg="mod">
          <ac:chgData name="Rajat Taneja" userId="4ec436a0-470b-456a-af42-a15c99f1cebd" providerId="ADAL" clId="{3CFFE7A2-FFBC-49D3-B012-6FC1B0757796}" dt="2022-04-04T01:22:33.318" v="2707" actId="1036"/>
          <ac:cxnSpMkLst>
            <pc:docMk/>
            <pc:sldMk cId="3361734087" sldId="2147375091"/>
            <ac:cxnSpMk id="14" creationId="{205ED673-06B4-4F82-B88B-2C085C87EE39}"/>
          </ac:cxnSpMkLst>
        </pc:cxnChg>
        <pc:cxnChg chg="mod">
          <ac:chgData name="Rajat Taneja" userId="4ec436a0-470b-456a-af42-a15c99f1cebd" providerId="ADAL" clId="{3CFFE7A2-FFBC-49D3-B012-6FC1B0757796}" dt="2022-04-04T01:22:33.318" v="2707" actId="1036"/>
          <ac:cxnSpMkLst>
            <pc:docMk/>
            <pc:sldMk cId="3361734087" sldId="2147375091"/>
            <ac:cxnSpMk id="16" creationId="{4E9EEECB-A756-4803-8FBC-585B7FCA0334}"/>
          </ac:cxnSpMkLst>
        </pc:cxnChg>
        <pc:cxnChg chg="mod">
          <ac:chgData name="Rajat Taneja" userId="4ec436a0-470b-456a-af42-a15c99f1cebd" providerId="ADAL" clId="{3CFFE7A2-FFBC-49D3-B012-6FC1B0757796}" dt="2022-04-04T01:22:33.318" v="2707" actId="1036"/>
          <ac:cxnSpMkLst>
            <pc:docMk/>
            <pc:sldMk cId="3361734087" sldId="2147375091"/>
            <ac:cxnSpMk id="69" creationId="{F9F30D7A-79DA-4054-8649-DEB496A0BB6C}"/>
          </ac:cxnSpMkLst>
        </pc:cxnChg>
        <pc:cxnChg chg="mod">
          <ac:chgData name="Rajat Taneja" userId="4ec436a0-470b-456a-af42-a15c99f1cebd" providerId="ADAL" clId="{3CFFE7A2-FFBC-49D3-B012-6FC1B0757796}" dt="2022-04-04T01:22:33.318" v="2707" actId="1036"/>
          <ac:cxnSpMkLst>
            <pc:docMk/>
            <pc:sldMk cId="3361734087" sldId="2147375091"/>
            <ac:cxnSpMk id="70" creationId="{15784618-6F1C-4FD8-B705-96FEEDBC5C60}"/>
          </ac:cxnSpMkLst>
        </pc:cxnChg>
      </pc:sldChg>
      <pc:sldChg chg="addSp delSp modSp add mod ord">
        <pc:chgData name="Rajat Taneja" userId="4ec436a0-470b-456a-af42-a15c99f1cebd" providerId="ADAL" clId="{3CFFE7A2-FFBC-49D3-B012-6FC1B0757796}" dt="2022-04-04T01:16:31.945" v="1236"/>
        <pc:sldMkLst>
          <pc:docMk/>
          <pc:sldMk cId="1099970059" sldId="2147375093"/>
        </pc:sldMkLst>
        <pc:spChg chg="add del mod modVis">
          <ac:chgData name="Rajat Taneja" userId="4ec436a0-470b-456a-af42-a15c99f1cebd" providerId="ADAL" clId="{3CFFE7A2-FFBC-49D3-B012-6FC1B0757796}" dt="2022-04-04T00:11:46.068" v="753"/>
          <ac:spMkLst>
            <pc:docMk/>
            <pc:sldMk cId="1099970059" sldId="2147375093"/>
            <ac:spMk id="2" creationId="{492156D2-CDDA-46B1-857F-8FF6F1A5141A}"/>
          </ac:spMkLst>
        </pc:spChg>
        <pc:spChg chg="mod">
          <ac:chgData name="Rajat Taneja" userId="4ec436a0-470b-456a-af42-a15c99f1cebd" providerId="ADAL" clId="{3CFFE7A2-FFBC-49D3-B012-6FC1B0757796}" dt="2022-04-04T00:11:46.010" v="713" actId="948"/>
          <ac:spMkLst>
            <pc:docMk/>
            <pc:sldMk cId="1099970059" sldId="2147375093"/>
            <ac:spMk id="3" creationId="{90F83281-ADE9-48C6-8BC1-A0D26D16D279}"/>
          </ac:spMkLst>
        </pc:spChg>
        <pc:graphicFrameChg chg="mod">
          <ac:chgData name="Rajat Taneja" userId="4ec436a0-470b-456a-af42-a15c99f1cebd" providerId="ADAL" clId="{3CFFE7A2-FFBC-49D3-B012-6FC1B0757796}" dt="2022-04-04T00:11:46.073" v="755"/>
          <ac:graphicFrameMkLst>
            <pc:docMk/>
            <pc:sldMk cId="1099970059" sldId="2147375093"/>
            <ac:graphicFrameMk id="5" creationId="{A0E0BFF2-9633-4748-A622-A1E4BE7920FA}"/>
          </ac:graphicFrameMkLst>
        </pc:graphicFrameChg>
        <pc:graphicFrameChg chg="modGraphic">
          <ac:chgData name="Rajat Taneja" userId="4ec436a0-470b-456a-af42-a15c99f1cebd" providerId="ADAL" clId="{3CFFE7A2-FFBC-49D3-B012-6FC1B0757796}" dt="2022-04-04T00:12:07.118" v="759" actId="403"/>
          <ac:graphicFrameMkLst>
            <pc:docMk/>
            <pc:sldMk cId="1099970059" sldId="2147375093"/>
            <ac:graphicFrameMk id="12" creationId="{CDCB91AE-6676-476B-9431-A31223B40D48}"/>
          </ac:graphicFrameMkLst>
        </pc:graphicFrameChg>
      </pc:sldChg>
      <pc:sldChg chg="delSp modSp mod ord">
        <pc:chgData name="Rajat Taneja" userId="4ec436a0-470b-456a-af42-a15c99f1cebd" providerId="ADAL" clId="{3CFFE7A2-FFBC-49D3-B012-6FC1B0757796}" dt="2022-04-04T00:52:36.405" v="1031" actId="6549"/>
        <pc:sldMkLst>
          <pc:docMk/>
          <pc:sldMk cId="353912550" sldId="2147375099"/>
        </pc:sldMkLst>
        <pc:spChg chg="del">
          <ac:chgData name="Rajat Taneja" userId="4ec436a0-470b-456a-af42-a15c99f1cebd" providerId="ADAL" clId="{3CFFE7A2-FFBC-49D3-B012-6FC1B0757796}" dt="2022-04-03T23:55:04.419" v="663" actId="478"/>
          <ac:spMkLst>
            <pc:docMk/>
            <pc:sldMk cId="353912550" sldId="2147375099"/>
            <ac:spMk id="87" creationId="{44331115-FA34-4A68-8D38-62F3F0BD8A06}"/>
          </ac:spMkLst>
        </pc:spChg>
        <pc:spChg chg="del">
          <ac:chgData name="Rajat Taneja" userId="4ec436a0-470b-456a-af42-a15c99f1cebd" providerId="ADAL" clId="{3CFFE7A2-FFBC-49D3-B012-6FC1B0757796}" dt="2022-04-03T23:55:04.419" v="663" actId="478"/>
          <ac:spMkLst>
            <pc:docMk/>
            <pc:sldMk cId="353912550" sldId="2147375099"/>
            <ac:spMk id="88" creationId="{5CDD5360-4C47-4373-A1B4-28A6119429BE}"/>
          </ac:spMkLst>
        </pc:spChg>
        <pc:spChg chg="del">
          <ac:chgData name="Rajat Taneja" userId="4ec436a0-470b-456a-af42-a15c99f1cebd" providerId="ADAL" clId="{3CFFE7A2-FFBC-49D3-B012-6FC1B0757796}" dt="2022-04-03T23:55:04.419" v="663" actId="478"/>
          <ac:spMkLst>
            <pc:docMk/>
            <pc:sldMk cId="353912550" sldId="2147375099"/>
            <ac:spMk id="89" creationId="{B8982D32-DAD1-4B57-B029-76BCD311B225}"/>
          </ac:spMkLst>
        </pc:spChg>
        <pc:spChg chg="del">
          <ac:chgData name="Rajat Taneja" userId="4ec436a0-470b-456a-af42-a15c99f1cebd" providerId="ADAL" clId="{3CFFE7A2-FFBC-49D3-B012-6FC1B0757796}" dt="2022-04-03T23:55:04.419" v="663" actId="478"/>
          <ac:spMkLst>
            <pc:docMk/>
            <pc:sldMk cId="353912550" sldId="2147375099"/>
            <ac:spMk id="90" creationId="{65EF56E0-9FC4-44AF-88A6-F349C081DA92}"/>
          </ac:spMkLst>
        </pc:spChg>
        <pc:spChg chg="del">
          <ac:chgData name="Rajat Taneja" userId="4ec436a0-470b-456a-af42-a15c99f1cebd" providerId="ADAL" clId="{3CFFE7A2-FFBC-49D3-B012-6FC1B0757796}" dt="2022-04-03T23:55:04.419" v="663" actId="478"/>
          <ac:spMkLst>
            <pc:docMk/>
            <pc:sldMk cId="353912550" sldId="2147375099"/>
            <ac:spMk id="91" creationId="{CDFF54D8-ED3C-4396-A04B-F21D25A8C5AC}"/>
          </ac:spMkLst>
        </pc:spChg>
        <pc:spChg chg="del">
          <ac:chgData name="Rajat Taneja" userId="4ec436a0-470b-456a-af42-a15c99f1cebd" providerId="ADAL" clId="{3CFFE7A2-FFBC-49D3-B012-6FC1B0757796}" dt="2022-04-03T23:55:04.419" v="663" actId="478"/>
          <ac:spMkLst>
            <pc:docMk/>
            <pc:sldMk cId="353912550" sldId="2147375099"/>
            <ac:spMk id="92" creationId="{83CC2DB4-718F-4E6E-94C5-3FF5122BE76A}"/>
          </ac:spMkLst>
        </pc:spChg>
        <pc:spChg chg="mod">
          <ac:chgData name="Rajat Taneja" userId="4ec436a0-470b-456a-af42-a15c99f1cebd" providerId="ADAL" clId="{3CFFE7A2-FFBC-49D3-B012-6FC1B0757796}" dt="2022-04-03T23:55:26.047" v="706" actId="1037"/>
          <ac:spMkLst>
            <pc:docMk/>
            <pc:sldMk cId="353912550" sldId="2147375099"/>
            <ac:spMk id="97" creationId="{D84557F4-7925-45EC-82BA-3E4829A1898E}"/>
          </ac:spMkLst>
        </pc:spChg>
        <pc:spChg chg="del">
          <ac:chgData name="Rajat Taneja" userId="4ec436a0-470b-456a-af42-a15c99f1cebd" providerId="ADAL" clId="{3CFFE7A2-FFBC-49D3-B012-6FC1B0757796}" dt="2022-04-03T23:55:04.419" v="663" actId="478"/>
          <ac:spMkLst>
            <pc:docMk/>
            <pc:sldMk cId="353912550" sldId="2147375099"/>
            <ac:spMk id="122" creationId="{093FBC0D-DBEA-42B2-BBE2-FD384203BBCE}"/>
          </ac:spMkLst>
        </pc:spChg>
        <pc:spChg chg="mod">
          <ac:chgData name="Rajat Taneja" userId="4ec436a0-470b-456a-af42-a15c99f1cebd" providerId="ADAL" clId="{3CFFE7A2-FFBC-49D3-B012-6FC1B0757796}" dt="2022-04-04T00:52:36.405" v="1031" actId="6549"/>
          <ac:spMkLst>
            <pc:docMk/>
            <pc:sldMk cId="353912550" sldId="2147375099"/>
            <ac:spMk id="129" creationId="{CE175841-4414-4AED-8FF8-BA5ECC68373D}"/>
          </ac:spMkLst>
        </pc:spChg>
        <pc:spChg chg="mod">
          <ac:chgData name="Rajat Taneja" userId="4ec436a0-470b-456a-af42-a15c99f1cebd" providerId="ADAL" clId="{3CFFE7A2-FFBC-49D3-B012-6FC1B0757796}" dt="2022-04-03T23:55:26.047" v="706" actId="1037"/>
          <ac:spMkLst>
            <pc:docMk/>
            <pc:sldMk cId="353912550" sldId="2147375099"/>
            <ac:spMk id="227" creationId="{542BD36A-0D54-4D35-B6C4-92E921987512}"/>
          </ac:spMkLst>
        </pc:spChg>
        <pc:spChg chg="mod">
          <ac:chgData name="Rajat Taneja" userId="4ec436a0-470b-456a-af42-a15c99f1cebd" providerId="ADAL" clId="{3CFFE7A2-FFBC-49D3-B012-6FC1B0757796}" dt="2022-04-03T23:55:26.047" v="706" actId="1037"/>
          <ac:spMkLst>
            <pc:docMk/>
            <pc:sldMk cId="353912550" sldId="2147375099"/>
            <ac:spMk id="234" creationId="{0E94A63C-D840-4691-BD65-A7EA8B247331}"/>
          </ac:spMkLst>
        </pc:spChg>
        <pc:spChg chg="del">
          <ac:chgData name="Rajat Taneja" userId="4ec436a0-470b-456a-af42-a15c99f1cebd" providerId="ADAL" clId="{3CFFE7A2-FFBC-49D3-B012-6FC1B0757796}" dt="2022-04-03T23:55:04.419" v="663" actId="478"/>
          <ac:spMkLst>
            <pc:docMk/>
            <pc:sldMk cId="353912550" sldId="2147375099"/>
            <ac:spMk id="235" creationId="{911C363E-3428-42E3-ABB2-488E1F23F275}"/>
          </ac:spMkLst>
        </pc:spChg>
        <pc:spChg chg="mod">
          <ac:chgData name="Rajat Taneja" userId="4ec436a0-470b-456a-af42-a15c99f1cebd" providerId="ADAL" clId="{3CFFE7A2-FFBC-49D3-B012-6FC1B0757796}" dt="2022-04-03T23:55:18.260" v="693" actId="1038"/>
          <ac:spMkLst>
            <pc:docMk/>
            <pc:sldMk cId="353912550" sldId="2147375099"/>
            <ac:spMk id="248" creationId="{1FDD2FD6-C481-4C1C-9C33-7F8096CA2B0C}"/>
          </ac:spMkLst>
        </pc:spChg>
        <pc:spChg chg="mod">
          <ac:chgData name="Rajat Taneja" userId="4ec436a0-470b-456a-af42-a15c99f1cebd" providerId="ADAL" clId="{3CFFE7A2-FFBC-49D3-B012-6FC1B0757796}" dt="2022-04-03T23:55:18.260" v="693" actId="1038"/>
          <ac:spMkLst>
            <pc:docMk/>
            <pc:sldMk cId="353912550" sldId="2147375099"/>
            <ac:spMk id="249" creationId="{B761DC1F-0E41-4247-B71C-B39C5F320DB7}"/>
          </ac:spMkLst>
        </pc:spChg>
        <pc:spChg chg="mod">
          <ac:chgData name="Rajat Taneja" userId="4ec436a0-470b-456a-af42-a15c99f1cebd" providerId="ADAL" clId="{3CFFE7A2-FFBC-49D3-B012-6FC1B0757796}" dt="2022-04-03T23:55:18.260" v="693" actId="1038"/>
          <ac:spMkLst>
            <pc:docMk/>
            <pc:sldMk cId="353912550" sldId="2147375099"/>
            <ac:spMk id="251" creationId="{11C77F27-4C09-4FC6-BC4A-7D4C5BCD8F3A}"/>
          </ac:spMkLst>
        </pc:spChg>
        <pc:spChg chg="mod">
          <ac:chgData name="Rajat Taneja" userId="4ec436a0-470b-456a-af42-a15c99f1cebd" providerId="ADAL" clId="{3CFFE7A2-FFBC-49D3-B012-6FC1B0757796}" dt="2022-04-03T23:55:18.260" v="693" actId="1038"/>
          <ac:spMkLst>
            <pc:docMk/>
            <pc:sldMk cId="353912550" sldId="2147375099"/>
            <ac:spMk id="252" creationId="{E00A7BCE-3546-482A-988A-9CD029235446}"/>
          </ac:spMkLst>
        </pc:spChg>
        <pc:spChg chg="mod">
          <ac:chgData name="Rajat Taneja" userId="4ec436a0-470b-456a-af42-a15c99f1cebd" providerId="ADAL" clId="{3CFFE7A2-FFBC-49D3-B012-6FC1B0757796}" dt="2022-04-03T23:55:18.260" v="693" actId="1038"/>
          <ac:spMkLst>
            <pc:docMk/>
            <pc:sldMk cId="353912550" sldId="2147375099"/>
            <ac:spMk id="254" creationId="{23589D23-7FEB-4955-B8DB-7FB5E3BF25D3}"/>
          </ac:spMkLst>
        </pc:spChg>
        <pc:spChg chg="mod">
          <ac:chgData name="Rajat Taneja" userId="4ec436a0-470b-456a-af42-a15c99f1cebd" providerId="ADAL" clId="{3CFFE7A2-FFBC-49D3-B012-6FC1B0757796}" dt="2022-04-03T23:55:18.260" v="693" actId="1038"/>
          <ac:spMkLst>
            <pc:docMk/>
            <pc:sldMk cId="353912550" sldId="2147375099"/>
            <ac:spMk id="261" creationId="{46E9442A-2573-4DB8-BD03-5B5269B72E3D}"/>
          </ac:spMkLst>
        </pc:spChg>
        <pc:spChg chg="mod">
          <ac:chgData name="Rajat Taneja" userId="4ec436a0-470b-456a-af42-a15c99f1cebd" providerId="ADAL" clId="{3CFFE7A2-FFBC-49D3-B012-6FC1B0757796}" dt="2022-04-03T23:55:18.260" v="693" actId="1038"/>
          <ac:spMkLst>
            <pc:docMk/>
            <pc:sldMk cId="353912550" sldId="2147375099"/>
            <ac:spMk id="262" creationId="{D47AAE85-6A63-4AF1-AB45-397E9817AB51}"/>
          </ac:spMkLst>
        </pc:spChg>
        <pc:spChg chg="mod">
          <ac:chgData name="Rajat Taneja" userId="4ec436a0-470b-456a-af42-a15c99f1cebd" providerId="ADAL" clId="{3CFFE7A2-FFBC-49D3-B012-6FC1B0757796}" dt="2022-04-03T23:55:18.260" v="693" actId="1038"/>
          <ac:spMkLst>
            <pc:docMk/>
            <pc:sldMk cId="353912550" sldId="2147375099"/>
            <ac:spMk id="263" creationId="{F7852562-3C5F-4F20-98F9-793697158279}"/>
          </ac:spMkLst>
        </pc:spChg>
        <pc:spChg chg="mod">
          <ac:chgData name="Rajat Taneja" userId="4ec436a0-470b-456a-af42-a15c99f1cebd" providerId="ADAL" clId="{3CFFE7A2-FFBC-49D3-B012-6FC1B0757796}" dt="2022-04-03T23:55:18.260" v="693" actId="1038"/>
          <ac:spMkLst>
            <pc:docMk/>
            <pc:sldMk cId="353912550" sldId="2147375099"/>
            <ac:spMk id="267" creationId="{6CFEF77D-5F03-44FD-92A8-78726333E0A8}"/>
          </ac:spMkLst>
        </pc:spChg>
        <pc:grpChg chg="mod">
          <ac:chgData name="Rajat Taneja" userId="4ec436a0-470b-456a-af42-a15c99f1cebd" providerId="ADAL" clId="{3CFFE7A2-FFBC-49D3-B012-6FC1B0757796}" dt="2022-04-03T23:55:26.047" v="706" actId="1037"/>
          <ac:grpSpMkLst>
            <pc:docMk/>
            <pc:sldMk cId="353912550" sldId="2147375099"/>
            <ac:grpSpMk id="7" creationId="{101E1BC2-100A-4D6F-903D-C5180CEE1310}"/>
          </ac:grpSpMkLst>
        </pc:grpChg>
        <pc:grpChg chg="mod">
          <ac:chgData name="Rajat Taneja" userId="4ec436a0-470b-456a-af42-a15c99f1cebd" providerId="ADAL" clId="{3CFFE7A2-FFBC-49D3-B012-6FC1B0757796}" dt="2022-04-03T23:55:18.260" v="693" actId="1038"/>
          <ac:grpSpMkLst>
            <pc:docMk/>
            <pc:sldMk cId="353912550" sldId="2147375099"/>
            <ac:grpSpMk id="10" creationId="{F796E6E6-32BF-44E3-A1B9-20CD6F85044D}"/>
          </ac:grpSpMkLst>
        </pc:grpChg>
        <pc:picChg chg="del">
          <ac:chgData name="Rajat Taneja" userId="4ec436a0-470b-456a-af42-a15c99f1cebd" providerId="ADAL" clId="{3CFFE7A2-FFBC-49D3-B012-6FC1B0757796}" dt="2022-04-03T23:55:04.419" v="663" actId="478"/>
          <ac:picMkLst>
            <pc:docMk/>
            <pc:sldMk cId="353912550" sldId="2147375099"/>
            <ac:picMk id="125" creationId="{7D98C053-70A7-4CDE-8CCC-07749536CE08}"/>
          </ac:picMkLst>
        </pc:picChg>
        <pc:cxnChg chg="mod">
          <ac:chgData name="Rajat Taneja" userId="4ec436a0-470b-456a-af42-a15c99f1cebd" providerId="ADAL" clId="{3CFFE7A2-FFBC-49D3-B012-6FC1B0757796}" dt="2022-04-03T23:55:26.047" v="706" actId="1037"/>
          <ac:cxnSpMkLst>
            <pc:docMk/>
            <pc:sldMk cId="353912550" sldId="2147375099"/>
            <ac:cxnSpMk id="14" creationId="{C67A4248-573E-4AD4-A540-BD5ED55F04EE}"/>
          </ac:cxnSpMkLst>
        </pc:cxnChg>
        <pc:cxnChg chg="del mod">
          <ac:chgData name="Rajat Taneja" userId="4ec436a0-470b-456a-af42-a15c99f1cebd" providerId="ADAL" clId="{3CFFE7A2-FFBC-49D3-B012-6FC1B0757796}" dt="2022-04-03T23:55:07.775" v="664" actId="478"/>
          <ac:cxnSpMkLst>
            <pc:docMk/>
            <pc:sldMk cId="353912550" sldId="2147375099"/>
            <ac:cxnSpMk id="16" creationId="{B2791EE7-60AF-4020-BC88-66E46169FE80}"/>
          </ac:cxnSpMkLst>
        </pc:cxnChg>
        <pc:cxnChg chg="mod">
          <ac:chgData name="Rajat Taneja" userId="4ec436a0-470b-456a-af42-a15c99f1cebd" providerId="ADAL" clId="{3CFFE7A2-FFBC-49D3-B012-6FC1B0757796}" dt="2022-04-03T23:55:26.047" v="706" actId="1037"/>
          <ac:cxnSpMkLst>
            <pc:docMk/>
            <pc:sldMk cId="353912550" sldId="2147375099"/>
            <ac:cxnSpMk id="18" creationId="{183C6CF5-FFC6-400D-93CC-F8DAB5DEFDBB}"/>
          </ac:cxnSpMkLst>
        </pc:cxnChg>
        <pc:cxnChg chg="mod">
          <ac:chgData name="Rajat Taneja" userId="4ec436a0-470b-456a-af42-a15c99f1cebd" providerId="ADAL" clId="{3CFFE7A2-FFBC-49D3-B012-6FC1B0757796}" dt="2022-04-03T23:55:26.047" v="706" actId="1037"/>
          <ac:cxnSpMkLst>
            <pc:docMk/>
            <pc:sldMk cId="353912550" sldId="2147375099"/>
            <ac:cxnSpMk id="20" creationId="{B34F2FC7-5DD9-433A-B83A-51E21D8DCF14}"/>
          </ac:cxnSpMkLst>
        </pc:cxnChg>
        <pc:cxnChg chg="mod">
          <ac:chgData name="Rajat Taneja" userId="4ec436a0-470b-456a-af42-a15c99f1cebd" providerId="ADAL" clId="{3CFFE7A2-FFBC-49D3-B012-6FC1B0757796}" dt="2022-04-03T23:55:26.047" v="706" actId="1037"/>
          <ac:cxnSpMkLst>
            <pc:docMk/>
            <pc:sldMk cId="353912550" sldId="2147375099"/>
            <ac:cxnSpMk id="22" creationId="{8DD15553-340A-46EA-AFB2-0AD6F3284ABE}"/>
          </ac:cxnSpMkLst>
        </pc:cxnChg>
        <pc:cxnChg chg="mod">
          <ac:chgData name="Rajat Taneja" userId="4ec436a0-470b-456a-af42-a15c99f1cebd" providerId="ADAL" clId="{3CFFE7A2-FFBC-49D3-B012-6FC1B0757796}" dt="2022-04-03T23:55:26.047" v="706" actId="1037"/>
          <ac:cxnSpMkLst>
            <pc:docMk/>
            <pc:sldMk cId="353912550" sldId="2147375099"/>
            <ac:cxnSpMk id="24" creationId="{D031D6C4-29BA-4C8C-A318-9D1DD2E3532A}"/>
          </ac:cxnSpMkLst>
        </pc:cxnChg>
        <pc:cxnChg chg="del">
          <ac:chgData name="Rajat Taneja" userId="4ec436a0-470b-456a-af42-a15c99f1cebd" providerId="ADAL" clId="{3CFFE7A2-FFBC-49D3-B012-6FC1B0757796}" dt="2022-04-03T23:55:04.419" v="663" actId="478"/>
          <ac:cxnSpMkLst>
            <pc:docMk/>
            <pc:sldMk cId="353912550" sldId="2147375099"/>
            <ac:cxnSpMk id="93" creationId="{B797A31E-2B3F-47E5-8101-D726F43CFFA4}"/>
          </ac:cxnSpMkLst>
        </pc:cxnChg>
        <pc:cxnChg chg="del">
          <ac:chgData name="Rajat Taneja" userId="4ec436a0-470b-456a-af42-a15c99f1cebd" providerId="ADAL" clId="{3CFFE7A2-FFBC-49D3-B012-6FC1B0757796}" dt="2022-04-03T23:55:04.419" v="663" actId="478"/>
          <ac:cxnSpMkLst>
            <pc:docMk/>
            <pc:sldMk cId="353912550" sldId="2147375099"/>
            <ac:cxnSpMk id="94" creationId="{695292A7-3A96-4831-8E4F-CB8243CD2501}"/>
          </ac:cxnSpMkLst>
        </pc:cxnChg>
        <pc:cxnChg chg="del">
          <ac:chgData name="Rajat Taneja" userId="4ec436a0-470b-456a-af42-a15c99f1cebd" providerId="ADAL" clId="{3CFFE7A2-FFBC-49D3-B012-6FC1B0757796}" dt="2022-04-03T23:55:04.419" v="663" actId="478"/>
          <ac:cxnSpMkLst>
            <pc:docMk/>
            <pc:sldMk cId="353912550" sldId="2147375099"/>
            <ac:cxnSpMk id="95" creationId="{4E4557BC-BF75-4371-8603-30351C19D49A}"/>
          </ac:cxnSpMkLst>
        </pc:cxnChg>
        <pc:cxnChg chg="del">
          <ac:chgData name="Rajat Taneja" userId="4ec436a0-470b-456a-af42-a15c99f1cebd" providerId="ADAL" clId="{3CFFE7A2-FFBC-49D3-B012-6FC1B0757796}" dt="2022-04-03T23:55:04.419" v="663" actId="478"/>
          <ac:cxnSpMkLst>
            <pc:docMk/>
            <pc:sldMk cId="353912550" sldId="2147375099"/>
            <ac:cxnSpMk id="96" creationId="{E35AF98B-531A-4979-8E8D-B8688CC7CAF4}"/>
          </ac:cxnSpMkLst>
        </pc:cxnChg>
        <pc:cxnChg chg="del">
          <ac:chgData name="Rajat Taneja" userId="4ec436a0-470b-456a-af42-a15c99f1cebd" providerId="ADAL" clId="{3CFFE7A2-FFBC-49D3-B012-6FC1B0757796}" dt="2022-04-03T23:55:04.419" v="663" actId="478"/>
          <ac:cxnSpMkLst>
            <pc:docMk/>
            <pc:sldMk cId="353912550" sldId="2147375099"/>
            <ac:cxnSpMk id="123" creationId="{C65FB2B0-4C66-444A-8457-9793BD72E41B}"/>
          </ac:cxnSpMkLst>
        </pc:cxnChg>
      </pc:sldChg>
      <pc:sldChg chg="addSp delSp modSp mod">
        <pc:chgData name="Rajat Taneja" userId="4ec436a0-470b-456a-af42-a15c99f1cebd" providerId="ADAL" clId="{3CFFE7A2-FFBC-49D3-B012-6FC1B0757796}" dt="2022-04-04T01:23:07.594" v="2785"/>
        <pc:sldMkLst>
          <pc:docMk/>
          <pc:sldMk cId="86544512" sldId="2147375102"/>
        </pc:sldMkLst>
        <pc:spChg chg="mod">
          <ac:chgData name="Rajat Taneja" userId="4ec436a0-470b-456a-af42-a15c99f1cebd" providerId="ADAL" clId="{3CFFE7A2-FFBC-49D3-B012-6FC1B0757796}" dt="2022-04-04T01:23:07.485" v="2728" actId="948"/>
          <ac:spMkLst>
            <pc:docMk/>
            <pc:sldMk cId="86544512" sldId="2147375102"/>
            <ac:spMk id="3" creationId="{628F1337-B2C9-4E41-B59D-FB96AEC74609}"/>
          </ac:spMkLst>
        </pc:spChg>
        <pc:spChg chg="add del mod modVis">
          <ac:chgData name="Rajat Taneja" userId="4ec436a0-470b-456a-af42-a15c99f1cebd" providerId="ADAL" clId="{3CFFE7A2-FFBC-49D3-B012-6FC1B0757796}" dt="2022-04-04T01:18:00.052" v="1625"/>
          <ac:spMkLst>
            <pc:docMk/>
            <pc:sldMk cId="86544512" sldId="2147375102"/>
            <ac:spMk id="5" creationId="{C1903286-3194-458C-B442-5DACDAC0761D}"/>
          </ac:spMkLst>
        </pc:spChg>
        <pc:spChg chg="add del mod modVis">
          <ac:chgData name="Rajat Taneja" userId="4ec436a0-470b-456a-af42-a15c99f1cebd" providerId="ADAL" clId="{3CFFE7A2-FFBC-49D3-B012-6FC1B0757796}" dt="2022-04-04T01:18:02.744" v="1669"/>
          <ac:spMkLst>
            <pc:docMk/>
            <pc:sldMk cId="86544512" sldId="2147375102"/>
            <ac:spMk id="9" creationId="{5845B47A-7533-490E-9AFD-E77AC234356D}"/>
          </ac:spMkLst>
        </pc:spChg>
        <pc:spChg chg="add del mod modVis">
          <ac:chgData name="Rajat Taneja" userId="4ec436a0-470b-456a-af42-a15c99f1cebd" providerId="ADAL" clId="{3CFFE7A2-FFBC-49D3-B012-6FC1B0757796}" dt="2022-04-04T01:18:06.022" v="1725"/>
          <ac:spMkLst>
            <pc:docMk/>
            <pc:sldMk cId="86544512" sldId="2147375102"/>
            <ac:spMk id="15" creationId="{BE62FED1-2E59-415A-B8D7-958115234060}"/>
          </ac:spMkLst>
        </pc:spChg>
        <pc:spChg chg="add del mod modVis">
          <ac:chgData name="Rajat Taneja" userId="4ec436a0-470b-456a-af42-a15c99f1cebd" providerId="ADAL" clId="{3CFFE7A2-FFBC-49D3-B012-6FC1B0757796}" dt="2022-04-04T01:18:08.462" v="1779"/>
          <ac:spMkLst>
            <pc:docMk/>
            <pc:sldMk cId="86544512" sldId="2147375102"/>
            <ac:spMk id="19" creationId="{4782127A-D556-4F35-AF0D-35DF06F3BA1D}"/>
          </ac:spMkLst>
        </pc:spChg>
        <pc:spChg chg="add del mod modVis">
          <ac:chgData name="Rajat Taneja" userId="4ec436a0-470b-456a-af42-a15c99f1cebd" providerId="ADAL" clId="{3CFFE7A2-FFBC-49D3-B012-6FC1B0757796}" dt="2022-04-04T01:18:10.624" v="1829"/>
          <ac:spMkLst>
            <pc:docMk/>
            <pc:sldMk cId="86544512" sldId="2147375102"/>
            <ac:spMk id="20" creationId="{56872E1E-E5E5-41EA-BEA3-E8FE6278092C}"/>
          </ac:spMkLst>
        </pc:spChg>
        <pc:spChg chg="add del mod modVis">
          <ac:chgData name="Rajat Taneja" userId="4ec436a0-470b-456a-af42-a15c99f1cebd" providerId="ADAL" clId="{3CFFE7A2-FFBC-49D3-B012-6FC1B0757796}" dt="2022-04-04T01:18:12.992" v="1879"/>
          <ac:spMkLst>
            <pc:docMk/>
            <pc:sldMk cId="86544512" sldId="2147375102"/>
            <ac:spMk id="21" creationId="{1B436151-2D10-489D-9E3E-2C3548B031F8}"/>
          </ac:spMkLst>
        </pc:spChg>
        <pc:spChg chg="add del mod modVis">
          <ac:chgData name="Rajat Taneja" userId="4ec436a0-470b-456a-af42-a15c99f1cebd" providerId="ADAL" clId="{3CFFE7A2-FFBC-49D3-B012-6FC1B0757796}" dt="2022-04-04T01:23:07.591" v="2783"/>
          <ac:spMkLst>
            <pc:docMk/>
            <pc:sldMk cId="86544512" sldId="2147375102"/>
            <ac:spMk id="22" creationId="{27A8B340-C78F-4AF3-9ACB-69356D040CAA}"/>
          </ac:spMkLst>
        </pc:spChg>
        <pc:graphicFrameChg chg="mod">
          <ac:chgData name="Rajat Taneja" userId="4ec436a0-470b-456a-af42-a15c99f1cebd" providerId="ADAL" clId="{3CFFE7A2-FFBC-49D3-B012-6FC1B0757796}" dt="2022-04-04T01:23:07.594" v="2785"/>
          <ac:graphicFrameMkLst>
            <pc:docMk/>
            <pc:sldMk cId="86544512" sldId="2147375102"/>
            <ac:graphicFrameMk id="6" creationId="{92D5A995-3865-45FF-997B-47B45A455494}"/>
          </ac:graphicFrameMkLst>
        </pc:graphicFrameChg>
      </pc:sldChg>
      <pc:sldChg chg="addSp delSp modSp mod ord">
        <pc:chgData name="Rajat Taneja" userId="4ec436a0-470b-456a-af42-a15c99f1cebd" providerId="ADAL" clId="{3CFFE7A2-FFBC-49D3-B012-6FC1B0757796}" dt="2022-04-04T01:16:37.413" v="1238"/>
        <pc:sldMkLst>
          <pc:docMk/>
          <pc:sldMk cId="726639715" sldId="2147375104"/>
        </pc:sldMkLst>
        <pc:spChg chg="add del mod modVis">
          <ac:chgData name="Rajat Taneja" userId="4ec436a0-470b-456a-af42-a15c99f1cebd" providerId="ADAL" clId="{3CFFE7A2-FFBC-49D3-B012-6FC1B0757796}" dt="2022-04-03T23:54:15.332" v="655"/>
          <ac:spMkLst>
            <pc:docMk/>
            <pc:sldMk cId="726639715" sldId="2147375104"/>
            <ac:spMk id="2" creationId="{141CB769-3085-4115-B664-29D69ADEF041}"/>
          </ac:spMkLst>
        </pc:spChg>
        <pc:spChg chg="mod">
          <ac:chgData name="Rajat Taneja" userId="4ec436a0-470b-456a-af42-a15c99f1cebd" providerId="ADAL" clId="{3CFFE7A2-FFBC-49D3-B012-6FC1B0757796}" dt="2022-04-03T23:54:15.140" v="424" actId="948"/>
          <ac:spMkLst>
            <pc:docMk/>
            <pc:sldMk cId="726639715" sldId="2147375104"/>
            <ac:spMk id="3" creationId="{A7E20946-B1E0-4E6A-ACFF-432B3F3DD169}"/>
          </ac:spMkLst>
        </pc:spChg>
        <pc:spChg chg="mod">
          <ac:chgData name="Rajat Taneja" userId="4ec436a0-470b-456a-af42-a15c99f1cebd" providerId="ADAL" clId="{3CFFE7A2-FFBC-49D3-B012-6FC1B0757796}" dt="2022-04-03T23:54:15.301" v="582"/>
          <ac:spMkLst>
            <pc:docMk/>
            <pc:sldMk cId="726639715" sldId="2147375104"/>
            <ac:spMk id="56" creationId="{C67E85AF-82F3-794C-93D5-DDA2C25F9264}"/>
          </ac:spMkLst>
        </pc:spChg>
        <pc:spChg chg="mod">
          <ac:chgData name="Rajat Taneja" userId="4ec436a0-470b-456a-af42-a15c99f1cebd" providerId="ADAL" clId="{3CFFE7A2-FFBC-49D3-B012-6FC1B0757796}" dt="2022-04-03T23:54:15.310" v="609"/>
          <ac:spMkLst>
            <pc:docMk/>
            <pc:sldMk cId="726639715" sldId="2147375104"/>
            <ac:spMk id="58" creationId="{C67E85AF-82F3-794C-93D5-DDA2C25F9264}"/>
          </ac:spMkLst>
        </pc:spChg>
        <pc:spChg chg="mod">
          <ac:chgData name="Rajat Taneja" userId="4ec436a0-470b-456a-af42-a15c99f1cebd" providerId="ADAL" clId="{3CFFE7A2-FFBC-49D3-B012-6FC1B0757796}" dt="2022-04-03T23:54:15.318" v="635"/>
          <ac:spMkLst>
            <pc:docMk/>
            <pc:sldMk cId="726639715" sldId="2147375104"/>
            <ac:spMk id="61" creationId="{C67E85AF-82F3-794C-93D5-DDA2C25F9264}"/>
          </ac:spMkLst>
        </pc:spChg>
        <pc:spChg chg="del">
          <ac:chgData name="Rajat Taneja" userId="4ec436a0-470b-456a-af42-a15c99f1cebd" providerId="ADAL" clId="{3CFFE7A2-FFBC-49D3-B012-6FC1B0757796}" dt="2022-04-03T23:54:15.136" v="423"/>
          <ac:spMkLst>
            <pc:docMk/>
            <pc:sldMk cId="726639715" sldId="2147375104"/>
            <ac:spMk id="63" creationId="{C67E85AF-82F3-794C-93D5-DDA2C25F9264}"/>
          </ac:spMkLst>
        </pc:spChg>
        <pc:spChg chg="mod">
          <ac:chgData name="Rajat Taneja" userId="4ec436a0-470b-456a-af42-a15c99f1cebd" providerId="ADAL" clId="{3CFFE7A2-FFBC-49D3-B012-6FC1B0757796}" dt="2022-04-03T23:54:15.320" v="641"/>
          <ac:spMkLst>
            <pc:docMk/>
            <pc:sldMk cId="726639715" sldId="2147375104"/>
            <ac:spMk id="64" creationId="{C67E85AF-82F3-794C-93D5-DDA2C25F9264}"/>
          </ac:spMkLst>
        </pc:spChg>
        <pc:spChg chg="mod">
          <ac:chgData name="Rajat Taneja" userId="4ec436a0-470b-456a-af42-a15c99f1cebd" providerId="ADAL" clId="{3CFFE7A2-FFBC-49D3-B012-6FC1B0757796}" dt="2022-04-03T23:54:15.195" v="467"/>
          <ac:spMkLst>
            <pc:docMk/>
            <pc:sldMk cId="726639715" sldId="2147375104"/>
            <ac:spMk id="66" creationId="{C67E85AF-82F3-794C-93D5-DDA2C25F9264}"/>
          </ac:spMkLst>
        </pc:spChg>
        <pc:spChg chg="mod">
          <ac:chgData name="Rajat Taneja" userId="4ec436a0-470b-456a-af42-a15c99f1cebd" providerId="ADAL" clId="{3CFFE7A2-FFBC-49D3-B012-6FC1B0757796}" dt="2022-04-03T23:54:15.303" v="587"/>
          <ac:spMkLst>
            <pc:docMk/>
            <pc:sldMk cId="726639715" sldId="2147375104"/>
            <ac:spMk id="70" creationId="{F10A2FEB-ACF6-4A44-9A8A-81AFB51C82AB}"/>
          </ac:spMkLst>
        </pc:spChg>
        <pc:spChg chg="mod">
          <ac:chgData name="Rajat Taneja" userId="4ec436a0-470b-456a-af42-a15c99f1cebd" providerId="ADAL" clId="{3CFFE7A2-FFBC-49D3-B012-6FC1B0757796}" dt="2022-04-03T23:54:15.323" v="652"/>
          <ac:spMkLst>
            <pc:docMk/>
            <pc:sldMk cId="726639715" sldId="2147375104"/>
            <ac:spMk id="71" creationId="{F7953714-3AAE-47BD-9DC9-667AA8B77CF6}"/>
          </ac:spMkLst>
        </pc:spChg>
        <pc:spChg chg="mod">
          <ac:chgData name="Rajat Taneja" userId="4ec436a0-470b-456a-af42-a15c99f1cebd" providerId="ADAL" clId="{3CFFE7A2-FFBC-49D3-B012-6FC1B0757796}" dt="2022-04-03T23:54:15.311" v="614"/>
          <ac:spMkLst>
            <pc:docMk/>
            <pc:sldMk cId="726639715" sldId="2147375104"/>
            <ac:spMk id="72" creationId="{1F0C1401-5D54-476A-9900-69E5711A5B09}"/>
          </ac:spMkLst>
        </pc:spChg>
        <pc:spChg chg="mod">
          <ac:chgData name="Rajat Taneja" userId="4ec436a0-470b-456a-af42-a15c99f1cebd" providerId="ADAL" clId="{3CFFE7A2-FFBC-49D3-B012-6FC1B0757796}" dt="2022-04-03T23:54:15.304" v="592"/>
          <ac:spMkLst>
            <pc:docMk/>
            <pc:sldMk cId="726639715" sldId="2147375104"/>
            <ac:spMk id="77" creationId="{7AA707F4-CE33-4DED-A120-781C20872AE5}"/>
          </ac:spMkLst>
        </pc:spChg>
        <pc:spChg chg="mod">
          <ac:chgData name="Rajat Taneja" userId="4ec436a0-470b-456a-af42-a15c99f1cebd" providerId="ADAL" clId="{3CFFE7A2-FFBC-49D3-B012-6FC1B0757796}" dt="2022-04-03T23:54:15.322" v="646"/>
          <ac:spMkLst>
            <pc:docMk/>
            <pc:sldMk cId="726639715" sldId="2147375104"/>
            <ac:spMk id="78" creationId="{2C783855-11BF-4CF5-B9F3-B16CE065A38B}"/>
          </ac:spMkLst>
        </pc:spChg>
        <pc:spChg chg="mod">
          <ac:chgData name="Rajat Taneja" userId="4ec436a0-470b-456a-af42-a15c99f1cebd" providerId="ADAL" clId="{3CFFE7A2-FFBC-49D3-B012-6FC1B0757796}" dt="2022-04-03T23:54:15.312" v="619"/>
          <ac:spMkLst>
            <pc:docMk/>
            <pc:sldMk cId="726639715" sldId="2147375104"/>
            <ac:spMk id="81" creationId="{800592B9-BE39-4905-A389-157BF669398C}"/>
          </ac:spMkLst>
        </pc:spChg>
        <pc:spChg chg="del">
          <ac:chgData name="Rajat Taneja" userId="4ec436a0-470b-456a-af42-a15c99f1cebd" providerId="ADAL" clId="{3CFFE7A2-FFBC-49D3-B012-6FC1B0757796}" dt="2022-04-03T23:54:15.136" v="422"/>
          <ac:spMkLst>
            <pc:docMk/>
            <pc:sldMk cId="726639715" sldId="2147375104"/>
            <ac:spMk id="83" creationId="{2971F6D0-F767-4458-B99F-4A2F356E88EB}"/>
          </ac:spMkLst>
        </pc:spChg>
        <pc:spChg chg="mod">
          <ac:chgData name="Rajat Taneja" userId="4ec436a0-470b-456a-af42-a15c99f1cebd" providerId="ADAL" clId="{3CFFE7A2-FFBC-49D3-B012-6FC1B0757796}" dt="2022-04-03T23:54:15.233" v="505"/>
          <ac:spMkLst>
            <pc:docMk/>
            <pc:sldMk cId="726639715" sldId="2147375104"/>
            <ac:spMk id="93" creationId="{C67E85AF-82F3-794C-93D5-DDA2C25F9264}"/>
          </ac:spMkLst>
        </pc:spChg>
        <pc:spChg chg="mod">
          <ac:chgData name="Rajat Taneja" userId="4ec436a0-470b-456a-af42-a15c99f1cebd" providerId="ADAL" clId="{3CFFE7A2-FFBC-49D3-B012-6FC1B0757796}" dt="2022-04-03T23:54:15.196" v="468"/>
          <ac:spMkLst>
            <pc:docMk/>
            <pc:sldMk cId="726639715" sldId="2147375104"/>
            <ac:spMk id="95" creationId="{C67E85AF-82F3-794C-93D5-DDA2C25F9264}"/>
          </ac:spMkLst>
        </pc:spChg>
        <pc:spChg chg="mod">
          <ac:chgData name="Rajat Taneja" userId="4ec436a0-470b-456a-af42-a15c99f1cebd" providerId="ADAL" clId="{3CFFE7A2-FFBC-49D3-B012-6FC1B0757796}" dt="2022-04-03T23:54:15.209" v="484"/>
          <ac:spMkLst>
            <pc:docMk/>
            <pc:sldMk cId="726639715" sldId="2147375104"/>
            <ac:spMk id="97" creationId="{2C0C819D-9F42-4459-A03A-0F819BA5C689}"/>
          </ac:spMkLst>
        </pc:spChg>
        <pc:spChg chg="mod">
          <ac:chgData name="Rajat Taneja" userId="4ec436a0-470b-456a-af42-a15c99f1cebd" providerId="ADAL" clId="{3CFFE7A2-FFBC-49D3-B012-6FC1B0757796}" dt="2022-04-03T23:54:15.213" v="487"/>
          <ac:spMkLst>
            <pc:docMk/>
            <pc:sldMk cId="726639715" sldId="2147375104"/>
            <ac:spMk id="99" creationId="{2CBE7810-6417-4BDE-A5DB-9C4819CD51FA}"/>
          </ac:spMkLst>
        </pc:spChg>
        <pc:spChg chg="mod">
          <ac:chgData name="Rajat Taneja" userId="4ec436a0-470b-456a-af42-a15c99f1cebd" providerId="ADAL" clId="{3CFFE7A2-FFBC-49D3-B012-6FC1B0757796}" dt="2022-04-03T23:54:15.216" v="490"/>
          <ac:spMkLst>
            <pc:docMk/>
            <pc:sldMk cId="726639715" sldId="2147375104"/>
            <ac:spMk id="101" creationId="{04D293D8-23D7-46DB-9D75-DC575346A8EE}"/>
          </ac:spMkLst>
        </pc:spChg>
        <pc:spChg chg="mod">
          <ac:chgData name="Rajat Taneja" userId="4ec436a0-470b-456a-af42-a15c99f1cebd" providerId="ADAL" clId="{3CFFE7A2-FFBC-49D3-B012-6FC1B0757796}" dt="2022-04-03T23:54:15.220" v="493"/>
          <ac:spMkLst>
            <pc:docMk/>
            <pc:sldMk cId="726639715" sldId="2147375104"/>
            <ac:spMk id="110" creationId="{7EEE77EA-6A04-4810-9CAA-E5840D4686BC}"/>
          </ac:spMkLst>
        </pc:spChg>
        <pc:spChg chg="mod">
          <ac:chgData name="Rajat Taneja" userId="4ec436a0-470b-456a-af42-a15c99f1cebd" providerId="ADAL" clId="{3CFFE7A2-FFBC-49D3-B012-6FC1B0757796}" dt="2022-04-03T23:54:15.223" v="496"/>
          <ac:spMkLst>
            <pc:docMk/>
            <pc:sldMk cId="726639715" sldId="2147375104"/>
            <ac:spMk id="112" creationId="{22398744-D4E8-4918-9F8C-ED08F6FEF819}"/>
          </ac:spMkLst>
        </pc:spChg>
        <pc:spChg chg="mod">
          <ac:chgData name="Rajat Taneja" userId="4ec436a0-470b-456a-af42-a15c99f1cebd" providerId="ADAL" clId="{3CFFE7A2-FFBC-49D3-B012-6FC1B0757796}" dt="2022-04-03T23:54:15.225" v="499"/>
          <ac:spMkLst>
            <pc:docMk/>
            <pc:sldMk cId="726639715" sldId="2147375104"/>
            <ac:spMk id="113" creationId="{9D6A389B-C99E-4D30-8716-67E38981C5C4}"/>
          </ac:spMkLst>
        </pc:spChg>
        <pc:spChg chg="mod">
          <ac:chgData name="Rajat Taneja" userId="4ec436a0-470b-456a-af42-a15c99f1cebd" providerId="ADAL" clId="{3CFFE7A2-FFBC-49D3-B012-6FC1B0757796}" dt="2022-04-03T23:54:15.229" v="502"/>
          <ac:spMkLst>
            <pc:docMk/>
            <pc:sldMk cId="726639715" sldId="2147375104"/>
            <ac:spMk id="114" creationId="{9180FD6F-79CF-4A6D-8ECD-F4CB0D95A561}"/>
          </ac:spMkLst>
        </pc:spChg>
        <pc:spChg chg="mod">
          <ac:chgData name="Rajat Taneja" userId="4ec436a0-470b-456a-af42-a15c99f1cebd" providerId="ADAL" clId="{3CFFE7A2-FFBC-49D3-B012-6FC1B0757796}" dt="2022-04-03T23:54:15.237" v="508"/>
          <ac:spMkLst>
            <pc:docMk/>
            <pc:sldMk cId="726639715" sldId="2147375104"/>
            <ac:spMk id="115" creationId="{BFC276CB-5AF0-4121-AD9B-B8238804ECD8}"/>
          </ac:spMkLst>
        </pc:spChg>
        <pc:spChg chg="mod">
          <ac:chgData name="Rajat Taneja" userId="4ec436a0-470b-456a-af42-a15c99f1cebd" providerId="ADAL" clId="{3CFFE7A2-FFBC-49D3-B012-6FC1B0757796}" dt="2022-04-03T23:54:15.294" v="560"/>
          <ac:spMkLst>
            <pc:docMk/>
            <pc:sldMk cId="726639715" sldId="2147375104"/>
            <ac:spMk id="131" creationId="{C67E85AF-82F3-794C-93D5-DDA2C25F9264}"/>
          </ac:spMkLst>
        </pc:spChg>
        <pc:spChg chg="mod">
          <ac:chgData name="Rajat Taneja" userId="4ec436a0-470b-456a-af42-a15c99f1cebd" providerId="ADAL" clId="{3CFFE7A2-FFBC-49D3-B012-6FC1B0757796}" dt="2022-04-03T23:54:15.306" v="597"/>
          <ac:spMkLst>
            <pc:docMk/>
            <pc:sldMk cId="726639715" sldId="2147375104"/>
            <ac:spMk id="132" creationId="{EF99198C-F896-4FDF-B5D6-DEAFA9224969}"/>
          </ac:spMkLst>
        </pc:spChg>
        <pc:spChg chg="mod">
          <ac:chgData name="Rajat Taneja" userId="4ec436a0-470b-456a-af42-a15c99f1cebd" providerId="ADAL" clId="{3CFFE7A2-FFBC-49D3-B012-6FC1B0757796}" dt="2022-04-03T23:54:15.296" v="565"/>
          <ac:spMkLst>
            <pc:docMk/>
            <pc:sldMk cId="726639715" sldId="2147375104"/>
            <ac:spMk id="133" creationId="{6C5C235D-C704-4CCE-AF05-3CCD33A71741}"/>
          </ac:spMkLst>
        </pc:spChg>
        <pc:spChg chg="mod">
          <ac:chgData name="Rajat Taneja" userId="4ec436a0-470b-456a-af42-a15c99f1cebd" providerId="ADAL" clId="{3CFFE7A2-FFBC-49D3-B012-6FC1B0757796}" dt="2022-04-03T23:54:15.298" v="570"/>
          <ac:spMkLst>
            <pc:docMk/>
            <pc:sldMk cId="726639715" sldId="2147375104"/>
            <ac:spMk id="136" creationId="{23F8BF12-666A-4E7C-87DC-410C27BFEC25}"/>
          </ac:spMkLst>
        </pc:spChg>
        <pc:spChg chg="mod">
          <ac:chgData name="Rajat Taneja" userId="4ec436a0-470b-456a-af42-a15c99f1cebd" providerId="ADAL" clId="{3CFFE7A2-FFBC-49D3-B012-6FC1B0757796}" dt="2022-04-03T23:54:15.299" v="575"/>
          <ac:spMkLst>
            <pc:docMk/>
            <pc:sldMk cId="726639715" sldId="2147375104"/>
            <ac:spMk id="138" creationId="{1B79912B-CAEE-4A19-B185-C29CEAB05833}"/>
          </ac:spMkLst>
        </pc:spChg>
        <pc:spChg chg="mod">
          <ac:chgData name="Rajat Taneja" userId="4ec436a0-470b-456a-af42-a15c99f1cebd" providerId="ADAL" clId="{3CFFE7A2-FFBC-49D3-B012-6FC1B0757796}" dt="2022-04-03T23:54:15.300" v="580"/>
          <ac:spMkLst>
            <pc:docMk/>
            <pc:sldMk cId="726639715" sldId="2147375104"/>
            <ac:spMk id="139" creationId="{F7E68281-BE5E-4B4E-8146-E462DF8F8ECB}"/>
          </ac:spMkLst>
        </pc:spChg>
        <pc:spChg chg="mod">
          <ac:chgData name="Rajat Taneja" userId="4ec436a0-470b-456a-af42-a15c99f1cebd" providerId="ADAL" clId="{3CFFE7A2-FFBC-49D3-B012-6FC1B0757796}" dt="2022-04-03T23:54:15.307" v="602"/>
          <ac:spMkLst>
            <pc:docMk/>
            <pc:sldMk cId="726639715" sldId="2147375104"/>
            <ac:spMk id="156" creationId="{AC04000F-330E-4AD8-ADD7-7A028A8A2AF5}"/>
          </ac:spMkLst>
        </pc:spChg>
        <pc:spChg chg="mod">
          <ac:chgData name="Rajat Taneja" userId="4ec436a0-470b-456a-af42-a15c99f1cebd" providerId="ADAL" clId="{3CFFE7A2-FFBC-49D3-B012-6FC1B0757796}" dt="2022-04-03T23:54:15.308" v="607"/>
          <ac:spMkLst>
            <pc:docMk/>
            <pc:sldMk cId="726639715" sldId="2147375104"/>
            <ac:spMk id="160" creationId="{AA4209F6-ACCF-4CEC-AE7D-3875A66FCE6B}"/>
          </ac:spMkLst>
        </pc:spChg>
        <pc:spChg chg="del">
          <ac:chgData name="Rajat Taneja" userId="4ec436a0-470b-456a-af42-a15c99f1cebd" providerId="ADAL" clId="{3CFFE7A2-FFBC-49D3-B012-6FC1B0757796}" dt="2022-04-03T23:54:15.135" v="420"/>
          <ac:spMkLst>
            <pc:docMk/>
            <pc:sldMk cId="726639715" sldId="2147375104"/>
            <ac:spMk id="161" creationId="{12082ADC-4921-464E-9140-2389E9EF1B96}"/>
          </ac:spMkLst>
        </pc:spChg>
        <pc:spChg chg="del">
          <ac:chgData name="Rajat Taneja" userId="4ec436a0-470b-456a-af42-a15c99f1cebd" providerId="ADAL" clId="{3CFFE7A2-FFBC-49D3-B012-6FC1B0757796}" dt="2022-04-03T23:54:15.133" v="418"/>
          <ac:spMkLst>
            <pc:docMk/>
            <pc:sldMk cId="726639715" sldId="2147375104"/>
            <ac:spMk id="163" creationId="{78AFEB4D-1504-482D-B987-5026CF7D8098}"/>
          </ac:spMkLst>
        </pc:spChg>
        <pc:spChg chg="del">
          <ac:chgData name="Rajat Taneja" userId="4ec436a0-470b-456a-af42-a15c99f1cebd" providerId="ADAL" clId="{3CFFE7A2-FFBC-49D3-B012-6FC1B0757796}" dt="2022-04-03T23:54:15.131" v="416"/>
          <ac:spMkLst>
            <pc:docMk/>
            <pc:sldMk cId="726639715" sldId="2147375104"/>
            <ac:spMk id="164" creationId="{92973EBF-7E16-4222-A996-BF68BC0B3380}"/>
          </ac:spMkLst>
        </pc:spChg>
        <pc:spChg chg="mod">
          <ac:chgData name="Rajat Taneja" userId="4ec436a0-470b-456a-af42-a15c99f1cebd" providerId="ADAL" clId="{3CFFE7A2-FFBC-49D3-B012-6FC1B0757796}" dt="2022-04-03T23:54:15.314" v="624"/>
          <ac:spMkLst>
            <pc:docMk/>
            <pc:sldMk cId="726639715" sldId="2147375104"/>
            <ac:spMk id="165" creationId="{8619B9A9-676A-402E-989C-4B769C0FEDD0}"/>
          </ac:spMkLst>
        </pc:spChg>
        <pc:spChg chg="mod">
          <ac:chgData name="Rajat Taneja" userId="4ec436a0-470b-456a-af42-a15c99f1cebd" providerId="ADAL" clId="{3CFFE7A2-FFBC-49D3-B012-6FC1B0757796}" dt="2022-04-03T23:54:15.316" v="629"/>
          <ac:spMkLst>
            <pc:docMk/>
            <pc:sldMk cId="726639715" sldId="2147375104"/>
            <ac:spMk id="167" creationId="{48FD0EDA-DFC2-46E7-96EC-B841BB75EC6E}"/>
          </ac:spMkLst>
        </pc:spChg>
        <pc:graphicFrameChg chg="mod">
          <ac:chgData name="Rajat Taneja" userId="4ec436a0-470b-456a-af42-a15c99f1cebd" providerId="ADAL" clId="{3CFFE7A2-FFBC-49D3-B012-6FC1B0757796}" dt="2022-04-03T23:54:15.337" v="657"/>
          <ac:graphicFrameMkLst>
            <pc:docMk/>
            <pc:sldMk cId="726639715" sldId="2147375104"/>
            <ac:graphicFrameMk id="6" creationId="{3D38A4D0-66AC-4A2F-9849-FAB448975DCE}"/>
          </ac:graphicFrameMkLst>
        </pc:graphicFrameChg>
        <pc:cxnChg chg="mod">
          <ac:chgData name="Rajat Taneja" userId="4ec436a0-470b-456a-af42-a15c99f1cebd" providerId="ADAL" clId="{3CFFE7A2-FFBC-49D3-B012-6FC1B0757796}" dt="2022-04-03T23:54:15.317" v="633"/>
          <ac:cxnSpMkLst>
            <pc:docMk/>
            <pc:sldMk cId="726639715" sldId="2147375104"/>
            <ac:cxnSpMk id="12" creationId="{94362036-A463-480F-BCA9-745F1DD0D2C4}"/>
          </ac:cxnSpMkLst>
        </pc:cxnChg>
        <pc:cxnChg chg="mod">
          <ac:chgData name="Rajat Taneja" userId="4ec436a0-470b-456a-af42-a15c99f1cebd" providerId="ADAL" clId="{3CFFE7A2-FFBC-49D3-B012-6FC1B0757796}" dt="2022-04-03T23:54:15.320" v="639"/>
          <ac:cxnSpMkLst>
            <pc:docMk/>
            <pc:sldMk cId="726639715" sldId="2147375104"/>
            <ac:cxnSpMk id="13" creationId="{B75C20C5-E590-4BB4-AEBA-4A43B6DC43C0}"/>
          </ac:cxnSpMkLst>
        </pc:cxnChg>
        <pc:cxnChg chg="mod">
          <ac:chgData name="Rajat Taneja" userId="4ec436a0-470b-456a-af42-a15c99f1cebd" providerId="ADAL" clId="{3CFFE7A2-FFBC-49D3-B012-6FC1B0757796}" dt="2022-04-03T23:54:15.323" v="650"/>
          <ac:cxnSpMkLst>
            <pc:docMk/>
            <pc:sldMk cId="726639715" sldId="2147375104"/>
            <ac:cxnSpMk id="15" creationId="{B1E0258A-C9FE-45BF-BBE7-5FC348D3DC09}"/>
          </ac:cxnSpMkLst>
        </pc:cxnChg>
      </pc:sldChg>
      <pc:sldChg chg="del">
        <pc:chgData name="Rajat Taneja" userId="4ec436a0-470b-456a-af42-a15c99f1cebd" providerId="ADAL" clId="{3CFFE7A2-FFBC-49D3-B012-6FC1B0757796}" dt="2022-04-03T23:55:51.185" v="707" actId="47"/>
        <pc:sldMkLst>
          <pc:docMk/>
          <pc:sldMk cId="3115051242" sldId="2147375108"/>
        </pc:sldMkLst>
      </pc:sldChg>
      <pc:sldChg chg="del">
        <pc:chgData name="Rajat Taneja" userId="4ec436a0-470b-456a-af42-a15c99f1cebd" providerId="ADAL" clId="{3CFFE7A2-FFBC-49D3-B012-6FC1B0757796}" dt="2022-04-03T23:54:23.933" v="658" actId="47"/>
        <pc:sldMkLst>
          <pc:docMk/>
          <pc:sldMk cId="730486508" sldId="2147375110"/>
        </pc:sldMkLst>
      </pc:sldChg>
      <pc:sldChg chg="addSp delSp modSp del mod">
        <pc:chgData name="Rajat Taneja" userId="4ec436a0-470b-456a-af42-a15c99f1cebd" providerId="ADAL" clId="{3CFFE7A2-FFBC-49D3-B012-6FC1B0757796}" dt="2022-04-04T01:16:24.780" v="1234" actId="47"/>
        <pc:sldMkLst>
          <pc:docMk/>
          <pc:sldMk cId="2828604054" sldId="2147375111"/>
        </pc:sldMkLst>
        <pc:spChg chg="mod ord">
          <ac:chgData name="Rajat Taneja" userId="4ec436a0-470b-456a-af42-a15c99f1cebd" providerId="ADAL" clId="{3CFFE7A2-FFBC-49D3-B012-6FC1B0757796}" dt="2022-03-25T00:23:41.642" v="116"/>
          <ac:spMkLst>
            <pc:docMk/>
            <pc:sldMk cId="2828604054" sldId="2147375111"/>
            <ac:spMk id="2" creationId="{74A5F041-6293-424E-BD0D-0AB0C404E9B6}"/>
          </ac:spMkLst>
        </pc:spChg>
        <pc:spChg chg="mod ord">
          <ac:chgData name="Rajat Taneja" userId="4ec436a0-470b-456a-af42-a15c99f1cebd" providerId="ADAL" clId="{3CFFE7A2-FFBC-49D3-B012-6FC1B0757796}" dt="2022-03-25T00:23:41.644" v="118"/>
          <ac:spMkLst>
            <pc:docMk/>
            <pc:sldMk cId="2828604054" sldId="2147375111"/>
            <ac:spMk id="3" creationId="{0C569910-822C-4CDB-A762-E8A4FAD1954A}"/>
          </ac:spMkLst>
        </pc:spChg>
        <pc:spChg chg="mod ord">
          <ac:chgData name="Rajat Taneja" userId="4ec436a0-470b-456a-af42-a15c99f1cebd" providerId="ADAL" clId="{3CFFE7A2-FFBC-49D3-B012-6FC1B0757796}" dt="2022-03-25T00:23:41.644" v="120"/>
          <ac:spMkLst>
            <pc:docMk/>
            <pc:sldMk cId="2828604054" sldId="2147375111"/>
            <ac:spMk id="4" creationId="{FF1A3B30-EEBB-4E5B-975E-BE60349A3E8A}"/>
          </ac:spMkLst>
        </pc:spChg>
        <pc:spChg chg="mod ord">
          <ac:chgData name="Rajat Taneja" userId="4ec436a0-470b-456a-af42-a15c99f1cebd" providerId="ADAL" clId="{3CFFE7A2-FFBC-49D3-B012-6FC1B0757796}" dt="2022-03-25T00:23:41.695" v="303"/>
          <ac:spMkLst>
            <pc:docMk/>
            <pc:sldMk cId="2828604054" sldId="2147375111"/>
            <ac:spMk id="7" creationId="{B8E8B1B1-DC5F-4B90-A54C-BF768904A723}"/>
          </ac:spMkLst>
        </pc:spChg>
        <pc:spChg chg="add del mod modVis">
          <ac:chgData name="Rajat Taneja" userId="4ec436a0-470b-456a-af42-a15c99f1cebd" providerId="ADAL" clId="{3CFFE7A2-FFBC-49D3-B012-6FC1B0757796}" dt="2022-03-25T00:23:41.699" v="314"/>
          <ac:spMkLst>
            <pc:docMk/>
            <pc:sldMk cId="2828604054" sldId="2147375111"/>
            <ac:spMk id="9" creationId="{814F64E3-2263-4174-9B3B-E7C4CCEF3D26}"/>
          </ac:spMkLst>
        </pc:spChg>
        <pc:spChg chg="mod ord">
          <ac:chgData name="Rajat Taneja" userId="4ec436a0-470b-456a-af42-a15c99f1cebd" providerId="ADAL" clId="{3CFFE7A2-FFBC-49D3-B012-6FC1B0757796}" dt="2022-03-25T00:23:41.665" v="202"/>
          <ac:spMkLst>
            <pc:docMk/>
            <pc:sldMk cId="2828604054" sldId="2147375111"/>
            <ac:spMk id="16" creationId="{DA5BA3EF-8BEB-4CE3-9DDE-476FABB5A33B}"/>
          </ac:spMkLst>
        </pc:spChg>
        <pc:spChg chg="mod ord">
          <ac:chgData name="Rajat Taneja" userId="4ec436a0-470b-456a-af42-a15c99f1cebd" providerId="ADAL" clId="{3CFFE7A2-FFBC-49D3-B012-6FC1B0757796}" dt="2022-03-25T00:23:41.654" v="166"/>
          <ac:spMkLst>
            <pc:docMk/>
            <pc:sldMk cId="2828604054" sldId="2147375111"/>
            <ac:spMk id="17" creationId="{4A829517-5767-44C9-A6F4-9FC9C827F814}"/>
          </ac:spMkLst>
        </pc:spChg>
        <pc:spChg chg="mod ord">
          <ac:chgData name="Rajat Taneja" userId="4ec436a0-470b-456a-af42-a15c99f1cebd" providerId="ADAL" clId="{3CFFE7A2-FFBC-49D3-B012-6FC1B0757796}" dt="2022-03-25T00:23:41.653" v="162"/>
          <ac:spMkLst>
            <pc:docMk/>
            <pc:sldMk cId="2828604054" sldId="2147375111"/>
            <ac:spMk id="18" creationId="{1BD7B72A-D4C8-48BE-8F1C-7ED3F2606BE0}"/>
          </ac:spMkLst>
        </pc:spChg>
        <pc:spChg chg="mod ord">
          <ac:chgData name="Rajat Taneja" userId="4ec436a0-470b-456a-af42-a15c99f1cebd" providerId="ADAL" clId="{3CFFE7A2-FFBC-49D3-B012-6FC1B0757796}" dt="2022-03-25T00:23:41.666" v="206"/>
          <ac:spMkLst>
            <pc:docMk/>
            <pc:sldMk cId="2828604054" sldId="2147375111"/>
            <ac:spMk id="19" creationId="{A37FA468-0401-481D-9A03-A05DB5B9EB8A}"/>
          </ac:spMkLst>
        </pc:spChg>
        <pc:spChg chg="mod ord">
          <ac:chgData name="Rajat Taneja" userId="4ec436a0-470b-456a-af42-a15c99f1cebd" providerId="ADAL" clId="{3CFFE7A2-FFBC-49D3-B012-6FC1B0757796}" dt="2022-03-25T00:23:41.667" v="210"/>
          <ac:spMkLst>
            <pc:docMk/>
            <pc:sldMk cId="2828604054" sldId="2147375111"/>
            <ac:spMk id="25" creationId="{D52DEFEA-E80A-4173-8F28-A53F3AAEF34E}"/>
          </ac:spMkLst>
        </pc:spChg>
        <pc:spChg chg="mod ord">
          <ac:chgData name="Rajat Taneja" userId="4ec436a0-470b-456a-af42-a15c99f1cebd" providerId="ADAL" clId="{3CFFE7A2-FFBC-49D3-B012-6FC1B0757796}" dt="2022-03-25T00:23:41.692" v="291"/>
          <ac:spMkLst>
            <pc:docMk/>
            <pc:sldMk cId="2828604054" sldId="2147375111"/>
            <ac:spMk id="43" creationId="{FD120447-0F3D-45A1-877E-50579C3F4E2D}"/>
          </ac:spMkLst>
        </pc:spChg>
        <pc:spChg chg="del mod topLvl">
          <ac:chgData name="Rajat Taneja" userId="4ec436a0-470b-456a-af42-a15c99f1cebd" providerId="ADAL" clId="{3CFFE7A2-FFBC-49D3-B012-6FC1B0757796}" dt="2022-03-25T00:22:51.621" v="26" actId="478"/>
          <ac:spMkLst>
            <pc:docMk/>
            <pc:sldMk cId="2828604054" sldId="2147375111"/>
            <ac:spMk id="54" creationId="{059E8600-B5D9-4B3C-A1BE-360064DFF49F}"/>
          </ac:spMkLst>
        </pc:spChg>
        <pc:spChg chg="mod">
          <ac:chgData name="Rajat Taneja" userId="4ec436a0-470b-456a-af42-a15c99f1cebd" providerId="ADAL" clId="{3CFFE7A2-FFBC-49D3-B012-6FC1B0757796}" dt="2022-03-25T00:20:03.078" v="3" actId="165"/>
          <ac:spMkLst>
            <pc:docMk/>
            <pc:sldMk cId="2828604054" sldId="2147375111"/>
            <ac:spMk id="57" creationId="{6CC68694-4C5A-4BD5-8BB0-F00CBF65FADF}"/>
          </ac:spMkLst>
        </pc:spChg>
        <pc:spChg chg="mod">
          <ac:chgData name="Rajat Taneja" userId="4ec436a0-470b-456a-af42-a15c99f1cebd" providerId="ADAL" clId="{3CFFE7A2-FFBC-49D3-B012-6FC1B0757796}" dt="2022-03-25T00:20:03.078" v="3" actId="165"/>
          <ac:spMkLst>
            <pc:docMk/>
            <pc:sldMk cId="2828604054" sldId="2147375111"/>
            <ac:spMk id="60" creationId="{BDF88596-D942-43F5-8314-EA36CF830A88}"/>
          </ac:spMkLst>
        </pc:spChg>
        <pc:spChg chg="del mod topLvl">
          <ac:chgData name="Rajat Taneja" userId="4ec436a0-470b-456a-af42-a15c99f1cebd" providerId="ADAL" clId="{3CFFE7A2-FFBC-49D3-B012-6FC1B0757796}" dt="2022-03-25T00:22:54.541" v="27" actId="478"/>
          <ac:spMkLst>
            <pc:docMk/>
            <pc:sldMk cId="2828604054" sldId="2147375111"/>
            <ac:spMk id="63" creationId="{08748E47-0EA6-4F48-8B09-1CB3D3B07B81}"/>
          </ac:spMkLst>
        </pc:spChg>
        <pc:spChg chg="mod ord">
          <ac:chgData name="Rajat Taneja" userId="4ec436a0-470b-456a-af42-a15c99f1cebd" providerId="ADAL" clId="{3CFFE7A2-FFBC-49D3-B012-6FC1B0757796}" dt="2022-03-25T00:23:41.679" v="249"/>
          <ac:spMkLst>
            <pc:docMk/>
            <pc:sldMk cId="2828604054" sldId="2147375111"/>
            <ac:spMk id="74" creationId="{7C016DE9-4E25-4B56-9B06-9256444B4584}"/>
          </ac:spMkLst>
        </pc:spChg>
        <pc:spChg chg="mod ord topLvl">
          <ac:chgData name="Rajat Taneja" userId="4ec436a0-470b-456a-af42-a15c99f1cebd" providerId="ADAL" clId="{3CFFE7A2-FFBC-49D3-B012-6FC1B0757796}" dt="2022-03-25T00:23:41.663" v="196"/>
          <ac:spMkLst>
            <pc:docMk/>
            <pc:sldMk cId="2828604054" sldId="2147375111"/>
            <ac:spMk id="89" creationId="{FF17D046-F988-4D61-BC0A-E5BE60C802F5}"/>
          </ac:spMkLst>
        </pc:spChg>
        <pc:spChg chg="mod ord topLvl">
          <ac:chgData name="Rajat Taneja" userId="4ec436a0-470b-456a-af42-a15c99f1cebd" providerId="ADAL" clId="{3CFFE7A2-FFBC-49D3-B012-6FC1B0757796}" dt="2022-03-25T00:23:41.660" v="186"/>
          <ac:spMkLst>
            <pc:docMk/>
            <pc:sldMk cId="2828604054" sldId="2147375111"/>
            <ac:spMk id="91" creationId="{6FB39539-34AE-479B-8D6E-A338782050FB}"/>
          </ac:spMkLst>
        </pc:spChg>
        <pc:spChg chg="mod">
          <ac:chgData name="Rajat Taneja" userId="4ec436a0-470b-456a-af42-a15c99f1cebd" providerId="ADAL" clId="{3CFFE7A2-FFBC-49D3-B012-6FC1B0757796}" dt="2022-04-04T00:54:35.434" v="1036" actId="20577"/>
          <ac:spMkLst>
            <pc:docMk/>
            <pc:sldMk cId="2828604054" sldId="2147375111"/>
            <ac:spMk id="92" creationId="{7B1BE635-2972-4C5D-AF3F-3FEDDF1A1EA1}"/>
          </ac:spMkLst>
        </pc:spChg>
        <pc:spChg chg="mod ord">
          <ac:chgData name="Rajat Taneja" userId="4ec436a0-470b-456a-af42-a15c99f1cebd" providerId="ADAL" clId="{3CFFE7A2-FFBC-49D3-B012-6FC1B0757796}" dt="2022-03-25T00:23:41.655" v="170"/>
          <ac:spMkLst>
            <pc:docMk/>
            <pc:sldMk cId="2828604054" sldId="2147375111"/>
            <ac:spMk id="110" creationId="{AC8A8084-7CFF-4272-B15A-37D1FDC50535}"/>
          </ac:spMkLst>
        </pc:spChg>
        <pc:spChg chg="mod ord">
          <ac:chgData name="Rajat Taneja" userId="4ec436a0-470b-456a-af42-a15c99f1cebd" providerId="ADAL" clId="{3CFFE7A2-FFBC-49D3-B012-6FC1B0757796}" dt="2022-03-25T00:23:41.658" v="182"/>
          <ac:spMkLst>
            <pc:docMk/>
            <pc:sldMk cId="2828604054" sldId="2147375111"/>
            <ac:spMk id="111" creationId="{3D4464EE-7129-40AF-B03D-B32546F7CCF1}"/>
          </ac:spMkLst>
        </pc:spChg>
        <pc:spChg chg="mod ord">
          <ac:chgData name="Rajat Taneja" userId="4ec436a0-470b-456a-af42-a15c99f1cebd" providerId="ADAL" clId="{3CFFE7A2-FFBC-49D3-B012-6FC1B0757796}" dt="2022-03-25T00:23:41.647" v="134"/>
          <ac:spMkLst>
            <pc:docMk/>
            <pc:sldMk cId="2828604054" sldId="2147375111"/>
            <ac:spMk id="112" creationId="{3E056E7B-8BBE-4512-9DF3-01DEA4897443}"/>
          </ac:spMkLst>
        </pc:spChg>
        <pc:spChg chg="mod ord">
          <ac:chgData name="Rajat Taneja" userId="4ec436a0-470b-456a-af42-a15c99f1cebd" providerId="ADAL" clId="{3CFFE7A2-FFBC-49D3-B012-6FC1B0757796}" dt="2022-03-25T00:23:41.650" v="146"/>
          <ac:spMkLst>
            <pc:docMk/>
            <pc:sldMk cId="2828604054" sldId="2147375111"/>
            <ac:spMk id="113" creationId="{E474B0BE-90BF-416B-8FAD-9595F4950CEE}"/>
          </ac:spMkLst>
        </pc:spChg>
        <pc:spChg chg="mod ord">
          <ac:chgData name="Rajat Taneja" userId="4ec436a0-470b-456a-af42-a15c99f1cebd" providerId="ADAL" clId="{3CFFE7A2-FFBC-49D3-B012-6FC1B0757796}" dt="2022-03-25T00:23:41.652" v="158"/>
          <ac:spMkLst>
            <pc:docMk/>
            <pc:sldMk cId="2828604054" sldId="2147375111"/>
            <ac:spMk id="114" creationId="{EBF1D66B-08ED-4650-9E6A-460988756F3A}"/>
          </ac:spMkLst>
        </pc:spChg>
        <pc:spChg chg="mod ord">
          <ac:chgData name="Rajat Taneja" userId="4ec436a0-470b-456a-af42-a15c99f1cebd" providerId="ADAL" clId="{3CFFE7A2-FFBC-49D3-B012-6FC1B0757796}" dt="2022-03-25T00:23:41.652" v="160"/>
          <ac:spMkLst>
            <pc:docMk/>
            <pc:sldMk cId="2828604054" sldId="2147375111"/>
            <ac:spMk id="126" creationId="{95584BC5-3E42-4A91-9CC8-8DDE18A72E6B}"/>
          </ac:spMkLst>
        </pc:spChg>
        <pc:spChg chg="mod ord">
          <ac:chgData name="Rajat Taneja" userId="4ec436a0-470b-456a-af42-a15c99f1cebd" providerId="ADAL" clId="{3CFFE7A2-FFBC-49D3-B012-6FC1B0757796}" dt="2022-03-25T00:23:41.653" v="164"/>
          <ac:spMkLst>
            <pc:docMk/>
            <pc:sldMk cId="2828604054" sldId="2147375111"/>
            <ac:spMk id="133" creationId="{DF913AFD-B9FF-4F5F-8241-44E02C5DD651}"/>
          </ac:spMkLst>
        </pc:spChg>
        <pc:spChg chg="mod ord">
          <ac:chgData name="Rajat Taneja" userId="4ec436a0-470b-456a-af42-a15c99f1cebd" providerId="ADAL" clId="{3CFFE7A2-FFBC-49D3-B012-6FC1B0757796}" dt="2022-03-25T00:23:41.644" v="122"/>
          <ac:spMkLst>
            <pc:docMk/>
            <pc:sldMk cId="2828604054" sldId="2147375111"/>
            <ac:spMk id="134" creationId="{729324DC-429C-4488-9DB0-4BFFF808DEBD}"/>
          </ac:spMkLst>
        </pc:spChg>
        <pc:spChg chg="mod ord">
          <ac:chgData name="Rajat Taneja" userId="4ec436a0-470b-456a-af42-a15c99f1cebd" providerId="ADAL" clId="{3CFFE7A2-FFBC-49D3-B012-6FC1B0757796}" dt="2022-03-25T00:23:41.655" v="172"/>
          <ac:spMkLst>
            <pc:docMk/>
            <pc:sldMk cId="2828604054" sldId="2147375111"/>
            <ac:spMk id="142" creationId="{4ACF8066-F193-4D63-9C0B-2DD9D03A4FF2}"/>
          </ac:spMkLst>
        </pc:spChg>
        <pc:spChg chg="mod ord">
          <ac:chgData name="Rajat Taneja" userId="4ec436a0-470b-456a-af42-a15c99f1cebd" providerId="ADAL" clId="{3CFFE7A2-FFBC-49D3-B012-6FC1B0757796}" dt="2022-03-25T00:23:41.656" v="174"/>
          <ac:spMkLst>
            <pc:docMk/>
            <pc:sldMk cId="2828604054" sldId="2147375111"/>
            <ac:spMk id="143" creationId="{6C9D8136-AF50-4852-B053-A7D442A30F50}"/>
          </ac:spMkLst>
        </pc:spChg>
        <pc:spChg chg="mod ord">
          <ac:chgData name="Rajat Taneja" userId="4ec436a0-470b-456a-af42-a15c99f1cebd" providerId="ADAL" clId="{3CFFE7A2-FFBC-49D3-B012-6FC1B0757796}" dt="2022-03-25T00:23:41.656" v="176"/>
          <ac:spMkLst>
            <pc:docMk/>
            <pc:sldMk cId="2828604054" sldId="2147375111"/>
            <ac:spMk id="144" creationId="{034F944F-B8EA-42CF-A29D-E5F55ED57699}"/>
          </ac:spMkLst>
        </pc:spChg>
        <pc:spChg chg="mod ord">
          <ac:chgData name="Rajat Taneja" userId="4ec436a0-470b-456a-af42-a15c99f1cebd" providerId="ADAL" clId="{3CFFE7A2-FFBC-49D3-B012-6FC1B0757796}" dt="2022-03-25T00:23:41.657" v="178"/>
          <ac:spMkLst>
            <pc:docMk/>
            <pc:sldMk cId="2828604054" sldId="2147375111"/>
            <ac:spMk id="150" creationId="{5ED3B9FB-86D3-4320-9EF0-8E0FC2B83041}"/>
          </ac:spMkLst>
        </pc:spChg>
        <pc:spChg chg="mod ord">
          <ac:chgData name="Rajat Taneja" userId="4ec436a0-470b-456a-af42-a15c99f1cebd" providerId="ADAL" clId="{3CFFE7A2-FFBC-49D3-B012-6FC1B0757796}" dt="2022-03-25T00:23:41.644" v="124"/>
          <ac:spMkLst>
            <pc:docMk/>
            <pc:sldMk cId="2828604054" sldId="2147375111"/>
            <ac:spMk id="158" creationId="{3D8C12E7-2FB9-492B-A588-AFB2717919B7}"/>
          </ac:spMkLst>
        </pc:spChg>
        <pc:spChg chg="mod ord">
          <ac:chgData name="Rajat Taneja" userId="4ec436a0-470b-456a-af42-a15c99f1cebd" providerId="ADAL" clId="{3CFFE7A2-FFBC-49D3-B012-6FC1B0757796}" dt="2022-03-25T00:23:41.645" v="126"/>
          <ac:spMkLst>
            <pc:docMk/>
            <pc:sldMk cId="2828604054" sldId="2147375111"/>
            <ac:spMk id="159" creationId="{00FE75F2-FC9A-4823-82E3-F851B18BB11C}"/>
          </ac:spMkLst>
        </pc:spChg>
        <pc:spChg chg="mod ord">
          <ac:chgData name="Rajat Taneja" userId="4ec436a0-470b-456a-af42-a15c99f1cebd" providerId="ADAL" clId="{3CFFE7A2-FFBC-49D3-B012-6FC1B0757796}" dt="2022-03-25T00:23:41.645" v="128"/>
          <ac:spMkLst>
            <pc:docMk/>
            <pc:sldMk cId="2828604054" sldId="2147375111"/>
            <ac:spMk id="160" creationId="{7E9CA2B0-D82C-48F1-9CFB-DAF1C5B29DE0}"/>
          </ac:spMkLst>
        </pc:spChg>
        <pc:spChg chg="mod ord">
          <ac:chgData name="Rajat Taneja" userId="4ec436a0-470b-456a-af42-a15c99f1cebd" providerId="ADAL" clId="{3CFFE7A2-FFBC-49D3-B012-6FC1B0757796}" dt="2022-03-25T00:23:41.646" v="130"/>
          <ac:spMkLst>
            <pc:docMk/>
            <pc:sldMk cId="2828604054" sldId="2147375111"/>
            <ac:spMk id="161" creationId="{99AFB587-E4F3-4989-90BB-3C06FA800B94}"/>
          </ac:spMkLst>
        </pc:spChg>
        <pc:spChg chg="mod ord">
          <ac:chgData name="Rajat Taneja" userId="4ec436a0-470b-456a-af42-a15c99f1cebd" providerId="ADAL" clId="{3CFFE7A2-FFBC-49D3-B012-6FC1B0757796}" dt="2022-03-25T00:23:41.648" v="136"/>
          <ac:spMkLst>
            <pc:docMk/>
            <pc:sldMk cId="2828604054" sldId="2147375111"/>
            <ac:spMk id="164" creationId="{E3B0D84B-80A6-48CF-BB08-EC6CD78A45D8}"/>
          </ac:spMkLst>
        </pc:spChg>
        <pc:spChg chg="mod ord">
          <ac:chgData name="Rajat Taneja" userId="4ec436a0-470b-456a-af42-a15c99f1cebd" providerId="ADAL" clId="{3CFFE7A2-FFBC-49D3-B012-6FC1B0757796}" dt="2022-03-25T00:23:41.648" v="138"/>
          <ac:spMkLst>
            <pc:docMk/>
            <pc:sldMk cId="2828604054" sldId="2147375111"/>
            <ac:spMk id="165" creationId="{9D495871-AB25-4FE6-A938-7DE7E4EC665D}"/>
          </ac:spMkLst>
        </pc:spChg>
        <pc:spChg chg="mod ord">
          <ac:chgData name="Rajat Taneja" userId="4ec436a0-470b-456a-af42-a15c99f1cebd" providerId="ADAL" clId="{3CFFE7A2-FFBC-49D3-B012-6FC1B0757796}" dt="2022-03-25T00:23:41.648" v="140"/>
          <ac:spMkLst>
            <pc:docMk/>
            <pc:sldMk cId="2828604054" sldId="2147375111"/>
            <ac:spMk id="166" creationId="{6582BFE6-3B70-4044-87A1-F2BFC7882619}"/>
          </ac:spMkLst>
        </pc:spChg>
        <pc:spChg chg="mod ord">
          <ac:chgData name="Rajat Taneja" userId="4ec436a0-470b-456a-af42-a15c99f1cebd" providerId="ADAL" clId="{3CFFE7A2-FFBC-49D3-B012-6FC1B0757796}" dt="2022-03-25T00:23:41.649" v="142"/>
          <ac:spMkLst>
            <pc:docMk/>
            <pc:sldMk cId="2828604054" sldId="2147375111"/>
            <ac:spMk id="167" creationId="{BD6F735D-4B82-4283-BA59-080094404CEE}"/>
          </ac:spMkLst>
        </pc:spChg>
        <pc:spChg chg="mod ord">
          <ac:chgData name="Rajat Taneja" userId="4ec436a0-470b-456a-af42-a15c99f1cebd" providerId="ADAL" clId="{3CFFE7A2-FFBC-49D3-B012-6FC1B0757796}" dt="2022-03-25T00:23:41.650" v="148"/>
          <ac:spMkLst>
            <pc:docMk/>
            <pc:sldMk cId="2828604054" sldId="2147375111"/>
            <ac:spMk id="170" creationId="{9F86378B-F25F-417D-A7A5-9ACA3CF6E48D}"/>
          </ac:spMkLst>
        </pc:spChg>
        <pc:spChg chg="mod ord">
          <ac:chgData name="Rajat Taneja" userId="4ec436a0-470b-456a-af42-a15c99f1cebd" providerId="ADAL" clId="{3CFFE7A2-FFBC-49D3-B012-6FC1B0757796}" dt="2022-03-25T00:23:41.651" v="150"/>
          <ac:spMkLst>
            <pc:docMk/>
            <pc:sldMk cId="2828604054" sldId="2147375111"/>
            <ac:spMk id="171" creationId="{A77F3613-7F08-4CAF-95EF-8D40A3F1A5DD}"/>
          </ac:spMkLst>
        </pc:spChg>
        <pc:spChg chg="mod ord">
          <ac:chgData name="Rajat Taneja" userId="4ec436a0-470b-456a-af42-a15c99f1cebd" providerId="ADAL" clId="{3CFFE7A2-FFBC-49D3-B012-6FC1B0757796}" dt="2022-03-25T00:23:41.651" v="152"/>
          <ac:spMkLst>
            <pc:docMk/>
            <pc:sldMk cId="2828604054" sldId="2147375111"/>
            <ac:spMk id="172" creationId="{C3F13629-30AC-4813-A5D8-8127E192E15D}"/>
          </ac:spMkLst>
        </pc:spChg>
        <pc:spChg chg="mod ord">
          <ac:chgData name="Rajat Taneja" userId="4ec436a0-470b-456a-af42-a15c99f1cebd" providerId="ADAL" clId="{3CFFE7A2-FFBC-49D3-B012-6FC1B0757796}" dt="2022-03-25T00:23:41.651" v="154"/>
          <ac:spMkLst>
            <pc:docMk/>
            <pc:sldMk cId="2828604054" sldId="2147375111"/>
            <ac:spMk id="173" creationId="{219CCC32-2849-479C-812A-1A788A363642}"/>
          </ac:spMkLst>
        </pc:spChg>
        <pc:spChg chg="mod topLvl">
          <ac:chgData name="Rajat Taneja" userId="4ec436a0-470b-456a-af42-a15c99f1cebd" providerId="ADAL" clId="{3CFFE7A2-FFBC-49D3-B012-6FC1B0757796}" dt="2022-03-25T00:24:59.859" v="341" actId="165"/>
          <ac:spMkLst>
            <pc:docMk/>
            <pc:sldMk cId="2828604054" sldId="2147375111"/>
            <ac:spMk id="210" creationId="{166BAD8A-BF2A-484E-8250-925CDA77FEE9}"/>
          </ac:spMkLst>
        </pc:spChg>
        <pc:spChg chg="mod topLvl">
          <ac:chgData name="Rajat Taneja" userId="4ec436a0-470b-456a-af42-a15c99f1cebd" providerId="ADAL" clId="{3CFFE7A2-FFBC-49D3-B012-6FC1B0757796}" dt="2022-03-25T00:24:59.859" v="341" actId="165"/>
          <ac:spMkLst>
            <pc:docMk/>
            <pc:sldMk cId="2828604054" sldId="2147375111"/>
            <ac:spMk id="211" creationId="{C4A8D88A-51EB-467C-87DF-2FB145BF88D9}"/>
          </ac:spMkLst>
        </pc:spChg>
        <pc:spChg chg="add mod topLvl">
          <ac:chgData name="Rajat Taneja" userId="4ec436a0-470b-456a-af42-a15c99f1cebd" providerId="ADAL" clId="{3CFFE7A2-FFBC-49D3-B012-6FC1B0757796}" dt="2022-03-25T00:24:59.859" v="341" actId="165"/>
          <ac:spMkLst>
            <pc:docMk/>
            <pc:sldMk cId="2828604054" sldId="2147375111"/>
            <ac:spMk id="218" creationId="{7268DE7E-8190-4EC9-841A-B81A403EF222}"/>
          </ac:spMkLst>
        </pc:spChg>
        <pc:spChg chg="mod">
          <ac:chgData name="Rajat Taneja" userId="4ec436a0-470b-456a-af42-a15c99f1cebd" providerId="ADAL" clId="{3CFFE7A2-FFBC-49D3-B012-6FC1B0757796}" dt="2022-03-25T00:22:21.584" v="22" actId="571"/>
          <ac:spMkLst>
            <pc:docMk/>
            <pc:sldMk cId="2828604054" sldId="2147375111"/>
            <ac:spMk id="221" creationId="{E3C161A6-F2E4-4AF4-AACB-A6C5D03F7FEA}"/>
          </ac:spMkLst>
        </pc:spChg>
        <pc:spChg chg="mod">
          <ac:chgData name="Rajat Taneja" userId="4ec436a0-470b-456a-af42-a15c99f1cebd" providerId="ADAL" clId="{3CFFE7A2-FFBC-49D3-B012-6FC1B0757796}" dt="2022-03-25T00:22:21.584" v="22" actId="571"/>
          <ac:spMkLst>
            <pc:docMk/>
            <pc:sldMk cId="2828604054" sldId="2147375111"/>
            <ac:spMk id="222" creationId="{123CAB39-2BB6-4ABC-9F6D-89206E28BED7}"/>
          </ac:spMkLst>
        </pc:spChg>
        <pc:spChg chg="mod">
          <ac:chgData name="Rajat Taneja" userId="4ec436a0-470b-456a-af42-a15c99f1cebd" providerId="ADAL" clId="{3CFFE7A2-FFBC-49D3-B012-6FC1B0757796}" dt="2022-03-25T00:22:21.584" v="22" actId="571"/>
          <ac:spMkLst>
            <pc:docMk/>
            <pc:sldMk cId="2828604054" sldId="2147375111"/>
            <ac:spMk id="229" creationId="{40B0EDA0-27AB-45F0-98DA-E997CED722A0}"/>
          </ac:spMkLst>
        </pc:spChg>
        <pc:spChg chg="add mod ord">
          <ac:chgData name="Rajat Taneja" userId="4ec436a0-470b-456a-af42-a15c99f1cebd" providerId="ADAL" clId="{3CFFE7A2-FFBC-49D3-B012-6FC1B0757796}" dt="2022-03-25T00:23:50.810" v="335" actId="1038"/>
          <ac:spMkLst>
            <pc:docMk/>
            <pc:sldMk cId="2828604054" sldId="2147375111"/>
            <ac:spMk id="230" creationId="{72488060-DF93-4502-98BC-ED3DB3F0202F}"/>
          </ac:spMkLst>
        </pc:spChg>
        <pc:spChg chg="add mod">
          <ac:chgData name="Rajat Taneja" userId="4ec436a0-470b-456a-af42-a15c99f1cebd" providerId="ADAL" clId="{3CFFE7A2-FFBC-49D3-B012-6FC1B0757796}" dt="2022-03-25T00:23:58.009" v="337" actId="571"/>
          <ac:spMkLst>
            <pc:docMk/>
            <pc:sldMk cId="2828604054" sldId="2147375111"/>
            <ac:spMk id="231" creationId="{85B95C97-AD64-4E5E-AF3E-317B2C9C2B79}"/>
          </ac:spMkLst>
        </pc:spChg>
        <pc:spChg chg="mod">
          <ac:chgData name="Rajat Taneja" userId="4ec436a0-470b-456a-af42-a15c99f1cebd" providerId="ADAL" clId="{3CFFE7A2-FFBC-49D3-B012-6FC1B0757796}" dt="2022-03-25T00:24:27.953" v="339"/>
          <ac:spMkLst>
            <pc:docMk/>
            <pc:sldMk cId="2828604054" sldId="2147375111"/>
            <ac:spMk id="235" creationId="{6356C460-F591-46BE-A65E-808CB23728C3}"/>
          </ac:spMkLst>
        </pc:spChg>
        <pc:spChg chg="mod">
          <ac:chgData name="Rajat Taneja" userId="4ec436a0-470b-456a-af42-a15c99f1cebd" providerId="ADAL" clId="{3CFFE7A2-FFBC-49D3-B012-6FC1B0757796}" dt="2022-03-25T00:24:27.953" v="339"/>
          <ac:spMkLst>
            <pc:docMk/>
            <pc:sldMk cId="2828604054" sldId="2147375111"/>
            <ac:spMk id="236" creationId="{C6938435-7C7B-4683-A463-4F585E8CF898}"/>
          </ac:spMkLst>
        </pc:spChg>
        <pc:spChg chg="mod">
          <ac:chgData name="Rajat Taneja" userId="4ec436a0-470b-456a-af42-a15c99f1cebd" providerId="ADAL" clId="{3CFFE7A2-FFBC-49D3-B012-6FC1B0757796}" dt="2022-03-25T00:24:27.953" v="339"/>
          <ac:spMkLst>
            <pc:docMk/>
            <pc:sldMk cId="2828604054" sldId="2147375111"/>
            <ac:spMk id="241" creationId="{6E080E0D-9CA6-4A64-8936-EE29402288FE}"/>
          </ac:spMkLst>
        </pc:spChg>
        <pc:spChg chg="mod ord">
          <ac:chgData name="Rajat Taneja" userId="4ec436a0-470b-456a-af42-a15c99f1cebd" providerId="ADAL" clId="{3CFFE7A2-FFBC-49D3-B012-6FC1B0757796}" dt="2022-03-25T00:23:41.665" v="204"/>
          <ac:spMkLst>
            <pc:docMk/>
            <pc:sldMk cId="2828604054" sldId="2147375111"/>
            <ac:spMk id="331" creationId="{182C3EA4-DE37-402D-8D9B-EF3F72A9D032}"/>
          </ac:spMkLst>
        </pc:spChg>
        <pc:spChg chg="mod ord">
          <ac:chgData name="Rajat Taneja" userId="4ec436a0-470b-456a-af42-a15c99f1cebd" providerId="ADAL" clId="{3CFFE7A2-FFBC-49D3-B012-6FC1B0757796}" dt="2022-03-25T00:23:41.666" v="208"/>
          <ac:spMkLst>
            <pc:docMk/>
            <pc:sldMk cId="2828604054" sldId="2147375111"/>
            <ac:spMk id="333" creationId="{F80FBDB4-1332-4F15-B820-6A6F660FF642}"/>
          </ac:spMkLst>
        </pc:spChg>
        <pc:spChg chg="mod">
          <ac:chgData name="Rajat Taneja" userId="4ec436a0-470b-456a-af42-a15c99f1cebd" providerId="ADAL" clId="{3CFFE7A2-FFBC-49D3-B012-6FC1B0757796}" dt="2022-03-25T00:23:41.674" v="231"/>
          <ac:spMkLst>
            <pc:docMk/>
            <pc:sldMk cId="2828604054" sldId="2147375111"/>
            <ac:spMk id="335" creationId="{B5FA68EA-B4FA-4382-91F9-A56CF734E8AC}"/>
          </ac:spMkLst>
        </pc:spChg>
        <pc:spChg chg="mod">
          <ac:chgData name="Rajat Taneja" userId="4ec436a0-470b-456a-af42-a15c99f1cebd" providerId="ADAL" clId="{3CFFE7A2-FFBC-49D3-B012-6FC1B0757796}" dt="2022-03-25T00:23:41.672" v="228"/>
          <ac:spMkLst>
            <pc:docMk/>
            <pc:sldMk cId="2828604054" sldId="2147375111"/>
            <ac:spMk id="336" creationId="{BFF6DA45-0681-44E7-A48D-F53805688FD5}"/>
          </ac:spMkLst>
        </pc:spChg>
        <pc:spChg chg="mod">
          <ac:chgData name="Rajat Taneja" userId="4ec436a0-470b-456a-af42-a15c99f1cebd" providerId="ADAL" clId="{3CFFE7A2-FFBC-49D3-B012-6FC1B0757796}" dt="2022-03-25T00:23:41.671" v="226"/>
          <ac:spMkLst>
            <pc:docMk/>
            <pc:sldMk cId="2828604054" sldId="2147375111"/>
            <ac:spMk id="337" creationId="{A51FDED2-9708-4168-9730-281F310FD45D}"/>
          </ac:spMkLst>
        </pc:spChg>
        <pc:spChg chg="mod">
          <ac:chgData name="Rajat Taneja" userId="4ec436a0-470b-456a-af42-a15c99f1cebd" providerId="ADAL" clId="{3CFFE7A2-FFBC-49D3-B012-6FC1B0757796}" dt="2022-03-25T00:23:41.670" v="225"/>
          <ac:spMkLst>
            <pc:docMk/>
            <pc:sldMk cId="2828604054" sldId="2147375111"/>
            <ac:spMk id="338" creationId="{8C1AF3DF-711C-416A-8BB3-1A11F24CA4FF}"/>
          </ac:spMkLst>
        </pc:spChg>
        <pc:spChg chg="mod">
          <ac:chgData name="Rajat Taneja" userId="4ec436a0-470b-456a-af42-a15c99f1cebd" providerId="ADAL" clId="{3CFFE7A2-FFBC-49D3-B012-6FC1B0757796}" dt="2022-03-25T00:23:41.673" v="229"/>
          <ac:spMkLst>
            <pc:docMk/>
            <pc:sldMk cId="2828604054" sldId="2147375111"/>
            <ac:spMk id="339" creationId="{691FB695-F737-475D-973B-3711D06F15DB}"/>
          </ac:spMkLst>
        </pc:spChg>
        <pc:spChg chg="mod">
          <ac:chgData name="Rajat Taneja" userId="4ec436a0-470b-456a-af42-a15c99f1cebd" providerId="ADAL" clId="{3CFFE7A2-FFBC-49D3-B012-6FC1B0757796}" dt="2022-03-25T00:23:41.673" v="230"/>
          <ac:spMkLst>
            <pc:docMk/>
            <pc:sldMk cId="2828604054" sldId="2147375111"/>
            <ac:spMk id="340" creationId="{133F990A-8470-4631-9285-3BD397CD1C54}"/>
          </ac:spMkLst>
        </pc:spChg>
        <pc:spChg chg="mod">
          <ac:chgData name="Rajat Taneja" userId="4ec436a0-470b-456a-af42-a15c99f1cebd" providerId="ADAL" clId="{3CFFE7A2-FFBC-49D3-B012-6FC1B0757796}" dt="2022-03-25T00:23:41.674" v="232"/>
          <ac:spMkLst>
            <pc:docMk/>
            <pc:sldMk cId="2828604054" sldId="2147375111"/>
            <ac:spMk id="341" creationId="{819436B0-0925-48C7-92B3-03C7CB69581B}"/>
          </ac:spMkLst>
        </pc:spChg>
        <pc:spChg chg="mod">
          <ac:chgData name="Rajat Taneja" userId="4ec436a0-470b-456a-af42-a15c99f1cebd" providerId="ADAL" clId="{3CFFE7A2-FFBC-49D3-B012-6FC1B0757796}" dt="2022-03-25T00:23:41.672" v="227"/>
          <ac:spMkLst>
            <pc:docMk/>
            <pc:sldMk cId="2828604054" sldId="2147375111"/>
            <ac:spMk id="342" creationId="{B9962394-945C-461D-A451-FAE9A896CF07}"/>
          </ac:spMkLst>
        </pc:spChg>
        <pc:spChg chg="mod ord">
          <ac:chgData name="Rajat Taneja" userId="4ec436a0-470b-456a-af42-a15c99f1cebd" providerId="ADAL" clId="{3CFFE7A2-FFBC-49D3-B012-6FC1B0757796}" dt="2022-03-25T00:23:41.676" v="240"/>
          <ac:spMkLst>
            <pc:docMk/>
            <pc:sldMk cId="2828604054" sldId="2147375111"/>
            <ac:spMk id="343" creationId="{BD9B82C9-3766-43AF-9FA4-0F9AE03D9F1B}"/>
          </ac:spMkLst>
        </pc:spChg>
        <pc:spChg chg="mod ord">
          <ac:chgData name="Rajat Taneja" userId="4ec436a0-470b-456a-af42-a15c99f1cebd" providerId="ADAL" clId="{3CFFE7A2-FFBC-49D3-B012-6FC1B0757796}" dt="2022-03-25T00:23:41.675" v="238"/>
          <ac:spMkLst>
            <pc:docMk/>
            <pc:sldMk cId="2828604054" sldId="2147375111"/>
            <ac:spMk id="344" creationId="{43BA2655-0F38-4883-B8B6-0B2537DED5DD}"/>
          </ac:spMkLst>
        </pc:spChg>
        <pc:spChg chg="mod ord">
          <ac:chgData name="Rajat Taneja" userId="4ec436a0-470b-456a-af42-a15c99f1cebd" providerId="ADAL" clId="{3CFFE7A2-FFBC-49D3-B012-6FC1B0757796}" dt="2022-03-25T00:23:41.676" v="242"/>
          <ac:spMkLst>
            <pc:docMk/>
            <pc:sldMk cId="2828604054" sldId="2147375111"/>
            <ac:spMk id="345" creationId="{EC815557-4CBC-4F10-B668-9B309ABE8627}"/>
          </ac:spMkLst>
        </pc:spChg>
        <pc:spChg chg="mod">
          <ac:chgData name="Rajat Taneja" userId="4ec436a0-470b-456a-af42-a15c99f1cebd" providerId="ADAL" clId="{3CFFE7A2-FFBC-49D3-B012-6FC1B0757796}" dt="2022-03-25T00:23:41.677" v="243"/>
          <ac:spMkLst>
            <pc:docMk/>
            <pc:sldMk cId="2828604054" sldId="2147375111"/>
            <ac:spMk id="346" creationId="{F224D8C8-AE80-436C-B406-AC6182796290}"/>
          </ac:spMkLst>
        </pc:spChg>
        <pc:spChg chg="mod">
          <ac:chgData name="Rajat Taneja" userId="4ec436a0-470b-456a-af42-a15c99f1cebd" providerId="ADAL" clId="{3CFFE7A2-FFBC-49D3-B012-6FC1B0757796}" dt="2022-03-25T00:23:41.678" v="246"/>
          <ac:spMkLst>
            <pc:docMk/>
            <pc:sldMk cId="2828604054" sldId="2147375111"/>
            <ac:spMk id="347" creationId="{BE133B37-7A94-45BA-A337-7FA7C138C2C4}"/>
          </ac:spMkLst>
        </pc:spChg>
        <pc:spChg chg="mod">
          <ac:chgData name="Rajat Taneja" userId="4ec436a0-470b-456a-af42-a15c99f1cebd" providerId="ADAL" clId="{3CFFE7A2-FFBC-49D3-B012-6FC1B0757796}" dt="2022-03-25T00:23:41.677" v="244"/>
          <ac:spMkLst>
            <pc:docMk/>
            <pc:sldMk cId="2828604054" sldId="2147375111"/>
            <ac:spMk id="348" creationId="{79CBB2F1-DA63-406B-8851-087C56F3B41D}"/>
          </ac:spMkLst>
        </pc:spChg>
        <pc:spChg chg="mod">
          <ac:chgData name="Rajat Taneja" userId="4ec436a0-470b-456a-af42-a15c99f1cebd" providerId="ADAL" clId="{3CFFE7A2-FFBC-49D3-B012-6FC1B0757796}" dt="2022-03-25T00:23:41.677" v="245"/>
          <ac:spMkLst>
            <pc:docMk/>
            <pc:sldMk cId="2828604054" sldId="2147375111"/>
            <ac:spMk id="349" creationId="{59222908-0BE7-491D-85B1-A8E94A320DBB}"/>
          </ac:spMkLst>
        </pc:spChg>
        <pc:spChg chg="mod">
          <ac:chgData name="Rajat Taneja" userId="4ec436a0-470b-456a-af42-a15c99f1cebd" providerId="ADAL" clId="{3CFFE7A2-FFBC-49D3-B012-6FC1B0757796}" dt="2022-03-25T00:23:41.678" v="247"/>
          <ac:spMkLst>
            <pc:docMk/>
            <pc:sldMk cId="2828604054" sldId="2147375111"/>
            <ac:spMk id="350" creationId="{C81EE6D5-6457-4FCC-BA85-4E7116B89BB1}"/>
          </ac:spMkLst>
        </pc:spChg>
        <pc:spChg chg="mod ord">
          <ac:chgData name="Rajat Taneja" userId="4ec436a0-470b-456a-af42-a15c99f1cebd" providerId="ADAL" clId="{3CFFE7A2-FFBC-49D3-B012-6FC1B0757796}" dt="2022-03-25T00:23:41.674" v="234"/>
          <ac:spMkLst>
            <pc:docMk/>
            <pc:sldMk cId="2828604054" sldId="2147375111"/>
            <ac:spMk id="357" creationId="{C67E85AF-82F3-794C-93D5-DDA2C25F9264}"/>
          </ac:spMkLst>
        </pc:spChg>
        <pc:spChg chg="mod ord">
          <ac:chgData name="Rajat Taneja" userId="4ec436a0-470b-456a-af42-a15c99f1cebd" providerId="ADAL" clId="{3CFFE7A2-FFBC-49D3-B012-6FC1B0757796}" dt="2022-03-25T00:23:41.692" v="293"/>
          <ac:spMkLst>
            <pc:docMk/>
            <pc:sldMk cId="2828604054" sldId="2147375111"/>
            <ac:spMk id="359" creationId="{8AA9ADB4-6DFA-4661-B3F1-8C2D8B7631EB}"/>
          </ac:spMkLst>
        </pc:spChg>
        <pc:spChg chg="mod ord">
          <ac:chgData name="Rajat Taneja" userId="4ec436a0-470b-456a-af42-a15c99f1cebd" providerId="ADAL" clId="{3CFFE7A2-FFBC-49D3-B012-6FC1B0757796}" dt="2022-03-25T00:23:41.675" v="236"/>
          <ac:spMkLst>
            <pc:docMk/>
            <pc:sldMk cId="2828604054" sldId="2147375111"/>
            <ac:spMk id="364" creationId="{C67E85AF-82F3-794C-93D5-DDA2C25F9264}"/>
          </ac:spMkLst>
        </pc:spChg>
        <pc:spChg chg="mod ord">
          <ac:chgData name="Rajat Taneja" userId="4ec436a0-470b-456a-af42-a15c99f1cebd" providerId="ADAL" clId="{3CFFE7A2-FFBC-49D3-B012-6FC1B0757796}" dt="2022-03-25T00:23:41.695" v="299"/>
          <ac:spMkLst>
            <pc:docMk/>
            <pc:sldMk cId="2828604054" sldId="2147375111"/>
            <ac:spMk id="369" creationId="{CC03F799-FEDD-4AE6-B46F-D88AC27C9FF3}"/>
          </ac:spMkLst>
        </pc:spChg>
        <pc:spChg chg="mod ord">
          <ac:chgData name="Rajat Taneja" userId="4ec436a0-470b-456a-af42-a15c99f1cebd" providerId="ADAL" clId="{3CFFE7A2-FFBC-49D3-B012-6FC1B0757796}" dt="2022-03-25T00:23:41.679" v="251"/>
          <ac:spMkLst>
            <pc:docMk/>
            <pc:sldMk cId="2828604054" sldId="2147375111"/>
            <ac:spMk id="370" creationId="{5F4188CC-4195-4B4D-AE11-2BB390A59033}"/>
          </ac:spMkLst>
        </pc:spChg>
        <pc:spChg chg="mod ord">
          <ac:chgData name="Rajat Taneja" userId="4ec436a0-470b-456a-af42-a15c99f1cebd" providerId="ADAL" clId="{3CFFE7A2-FFBC-49D3-B012-6FC1B0757796}" dt="2022-03-25T00:23:41.695" v="301"/>
          <ac:spMkLst>
            <pc:docMk/>
            <pc:sldMk cId="2828604054" sldId="2147375111"/>
            <ac:spMk id="371" creationId="{8013C464-1AA3-4CD8-892E-7C69D483B189}"/>
          </ac:spMkLst>
        </pc:spChg>
        <pc:spChg chg="mod">
          <ac:chgData name="Rajat Taneja" userId="4ec436a0-470b-456a-af42-a15c99f1cebd" providerId="ADAL" clId="{3CFFE7A2-FFBC-49D3-B012-6FC1B0757796}" dt="2022-03-25T00:23:41.682" v="259"/>
          <ac:spMkLst>
            <pc:docMk/>
            <pc:sldMk cId="2828604054" sldId="2147375111"/>
            <ac:spMk id="378" creationId="{156CEB16-3067-49AD-8551-949A02B38A0F}"/>
          </ac:spMkLst>
        </pc:spChg>
        <pc:spChg chg="mod">
          <ac:chgData name="Rajat Taneja" userId="4ec436a0-470b-456a-af42-a15c99f1cebd" providerId="ADAL" clId="{3CFFE7A2-FFBC-49D3-B012-6FC1B0757796}" dt="2022-03-25T00:23:41.680" v="255"/>
          <ac:spMkLst>
            <pc:docMk/>
            <pc:sldMk cId="2828604054" sldId="2147375111"/>
            <ac:spMk id="379" creationId="{B719DE65-81B9-4731-AA40-EC4173E921DE}"/>
          </ac:spMkLst>
        </pc:spChg>
        <pc:spChg chg="mod">
          <ac:chgData name="Rajat Taneja" userId="4ec436a0-470b-456a-af42-a15c99f1cebd" providerId="ADAL" clId="{3CFFE7A2-FFBC-49D3-B012-6FC1B0757796}" dt="2022-03-25T00:23:41.680" v="254"/>
          <ac:spMkLst>
            <pc:docMk/>
            <pc:sldMk cId="2828604054" sldId="2147375111"/>
            <ac:spMk id="380" creationId="{A5C24E53-BBDF-4EBC-8906-8913D65C5225}"/>
          </ac:spMkLst>
        </pc:spChg>
        <pc:spChg chg="mod">
          <ac:chgData name="Rajat Taneja" userId="4ec436a0-470b-456a-af42-a15c99f1cebd" providerId="ADAL" clId="{3CFFE7A2-FFBC-49D3-B012-6FC1B0757796}" dt="2022-03-25T00:23:41.681" v="256"/>
          <ac:spMkLst>
            <pc:docMk/>
            <pc:sldMk cId="2828604054" sldId="2147375111"/>
            <ac:spMk id="381" creationId="{7DCF0FEE-0BFA-4ACC-92AA-95F8C3E37AE8}"/>
          </ac:spMkLst>
        </pc:spChg>
        <pc:spChg chg="mod">
          <ac:chgData name="Rajat Taneja" userId="4ec436a0-470b-456a-af42-a15c99f1cebd" providerId="ADAL" clId="{3CFFE7A2-FFBC-49D3-B012-6FC1B0757796}" dt="2022-03-25T00:23:41.682" v="261"/>
          <ac:spMkLst>
            <pc:docMk/>
            <pc:sldMk cId="2828604054" sldId="2147375111"/>
            <ac:spMk id="382" creationId="{230E806E-EEF8-4625-9C20-1572473E9F13}"/>
          </ac:spMkLst>
        </pc:spChg>
        <pc:spChg chg="mod">
          <ac:chgData name="Rajat Taneja" userId="4ec436a0-470b-456a-af42-a15c99f1cebd" providerId="ADAL" clId="{3CFFE7A2-FFBC-49D3-B012-6FC1B0757796}" dt="2022-03-25T00:23:41.681" v="258"/>
          <ac:spMkLst>
            <pc:docMk/>
            <pc:sldMk cId="2828604054" sldId="2147375111"/>
            <ac:spMk id="383" creationId="{35D92BF1-10D0-443B-9DDD-FF07EC5FAC1A}"/>
          </ac:spMkLst>
        </pc:spChg>
        <pc:spChg chg="mod">
          <ac:chgData name="Rajat Taneja" userId="4ec436a0-470b-456a-af42-a15c99f1cebd" providerId="ADAL" clId="{3CFFE7A2-FFBC-49D3-B012-6FC1B0757796}" dt="2022-03-25T00:23:41.681" v="257"/>
          <ac:spMkLst>
            <pc:docMk/>
            <pc:sldMk cId="2828604054" sldId="2147375111"/>
            <ac:spMk id="384" creationId="{A5D6FD69-5AC9-4F0F-B784-A42F58A1EE96}"/>
          </ac:spMkLst>
        </pc:spChg>
        <pc:spChg chg="mod">
          <ac:chgData name="Rajat Taneja" userId="4ec436a0-470b-456a-af42-a15c99f1cebd" providerId="ADAL" clId="{3CFFE7A2-FFBC-49D3-B012-6FC1B0757796}" dt="2022-03-25T00:23:41.682" v="260"/>
          <ac:spMkLst>
            <pc:docMk/>
            <pc:sldMk cId="2828604054" sldId="2147375111"/>
            <ac:spMk id="385" creationId="{F4BDE51C-D314-49B9-B834-66C43641E941}"/>
          </ac:spMkLst>
        </pc:spChg>
        <pc:spChg chg="mod">
          <ac:chgData name="Rajat Taneja" userId="4ec436a0-470b-456a-af42-a15c99f1cebd" providerId="ADAL" clId="{3CFFE7A2-FFBC-49D3-B012-6FC1B0757796}" dt="2022-03-25T00:23:41.684" v="265"/>
          <ac:spMkLst>
            <pc:docMk/>
            <pc:sldMk cId="2828604054" sldId="2147375111"/>
            <ac:spMk id="386" creationId="{3996E0F5-7B48-4646-8E86-FA0DFD1233BE}"/>
          </ac:spMkLst>
        </pc:spChg>
        <pc:spChg chg="mod ord">
          <ac:chgData name="Rajat Taneja" userId="4ec436a0-470b-456a-af42-a15c99f1cebd" providerId="ADAL" clId="{3CFFE7A2-FFBC-49D3-B012-6FC1B0757796}" dt="2022-03-25T00:23:41.683" v="264"/>
          <ac:spMkLst>
            <pc:docMk/>
            <pc:sldMk cId="2828604054" sldId="2147375111"/>
            <ac:spMk id="387" creationId="{C28887F0-7F42-4E56-BE6A-A90C2E560345}"/>
          </ac:spMkLst>
        </pc:spChg>
        <pc:spChg chg="mod">
          <ac:chgData name="Rajat Taneja" userId="4ec436a0-470b-456a-af42-a15c99f1cebd" providerId="ADAL" clId="{3CFFE7A2-FFBC-49D3-B012-6FC1B0757796}" dt="2022-03-25T00:23:41.683" v="262"/>
          <ac:spMkLst>
            <pc:docMk/>
            <pc:sldMk cId="2828604054" sldId="2147375111"/>
            <ac:spMk id="388" creationId="{0BB70537-F5FE-4AE2-B9B6-423B4BDB799C}"/>
          </ac:spMkLst>
        </pc:spChg>
        <pc:spChg chg="mod ord">
          <ac:chgData name="Rajat Taneja" userId="4ec436a0-470b-456a-af42-a15c99f1cebd" providerId="ADAL" clId="{3CFFE7A2-FFBC-49D3-B012-6FC1B0757796}" dt="2022-03-25T00:23:41.685" v="267"/>
          <ac:spMkLst>
            <pc:docMk/>
            <pc:sldMk cId="2828604054" sldId="2147375111"/>
            <ac:spMk id="389" creationId="{D700D179-7F93-41CF-AD21-1A15549AC22C}"/>
          </ac:spMkLst>
        </pc:spChg>
        <pc:spChg chg="mod ord">
          <ac:chgData name="Rajat Taneja" userId="4ec436a0-470b-456a-af42-a15c99f1cebd" providerId="ADAL" clId="{3CFFE7A2-FFBC-49D3-B012-6FC1B0757796}" dt="2022-03-25T00:23:41.685" v="269"/>
          <ac:spMkLst>
            <pc:docMk/>
            <pc:sldMk cId="2828604054" sldId="2147375111"/>
            <ac:spMk id="390" creationId="{842436B5-DCD6-4F68-93E3-5BC91836E957}"/>
          </ac:spMkLst>
        </pc:spChg>
        <pc:spChg chg="mod ord">
          <ac:chgData name="Rajat Taneja" userId="4ec436a0-470b-456a-af42-a15c99f1cebd" providerId="ADAL" clId="{3CFFE7A2-FFBC-49D3-B012-6FC1B0757796}" dt="2022-03-25T00:23:41.686" v="271"/>
          <ac:spMkLst>
            <pc:docMk/>
            <pc:sldMk cId="2828604054" sldId="2147375111"/>
            <ac:spMk id="391" creationId="{CA54DC81-5D50-417F-AEAA-D1A89FADED32}"/>
          </ac:spMkLst>
        </pc:spChg>
        <pc:spChg chg="mod">
          <ac:chgData name="Rajat Taneja" userId="4ec436a0-470b-456a-af42-a15c99f1cebd" providerId="ADAL" clId="{3CFFE7A2-FFBC-49D3-B012-6FC1B0757796}" dt="2022-03-25T00:23:41.687" v="275"/>
          <ac:spMkLst>
            <pc:docMk/>
            <pc:sldMk cId="2828604054" sldId="2147375111"/>
            <ac:spMk id="392" creationId="{AEA109AA-4F64-498B-817A-ABC7A9CDB998}"/>
          </ac:spMkLst>
        </pc:spChg>
        <pc:spChg chg="mod">
          <ac:chgData name="Rajat Taneja" userId="4ec436a0-470b-456a-af42-a15c99f1cebd" providerId="ADAL" clId="{3CFFE7A2-FFBC-49D3-B012-6FC1B0757796}" dt="2022-03-25T00:23:41.686" v="272"/>
          <ac:spMkLst>
            <pc:docMk/>
            <pc:sldMk cId="2828604054" sldId="2147375111"/>
            <ac:spMk id="393" creationId="{F0B83D49-A1AA-41E7-8D14-EA7CF04EC40D}"/>
          </ac:spMkLst>
        </pc:spChg>
        <pc:spChg chg="mod">
          <ac:chgData name="Rajat Taneja" userId="4ec436a0-470b-456a-af42-a15c99f1cebd" providerId="ADAL" clId="{3CFFE7A2-FFBC-49D3-B012-6FC1B0757796}" dt="2022-03-25T00:23:41.686" v="273"/>
          <ac:spMkLst>
            <pc:docMk/>
            <pc:sldMk cId="2828604054" sldId="2147375111"/>
            <ac:spMk id="394" creationId="{B5B53317-3740-4187-ADC2-43B62BAEA7FC}"/>
          </ac:spMkLst>
        </pc:spChg>
        <pc:spChg chg="mod">
          <ac:chgData name="Rajat Taneja" userId="4ec436a0-470b-456a-af42-a15c99f1cebd" providerId="ADAL" clId="{3CFFE7A2-FFBC-49D3-B012-6FC1B0757796}" dt="2022-03-25T00:23:41.686" v="274"/>
          <ac:spMkLst>
            <pc:docMk/>
            <pc:sldMk cId="2828604054" sldId="2147375111"/>
            <ac:spMk id="395" creationId="{B0DF9562-015C-413F-8F8A-0EE623554617}"/>
          </ac:spMkLst>
        </pc:spChg>
        <pc:spChg chg="mod">
          <ac:chgData name="Rajat Taneja" userId="4ec436a0-470b-456a-af42-a15c99f1cebd" providerId="ADAL" clId="{3CFFE7A2-FFBC-49D3-B012-6FC1B0757796}" dt="2022-03-25T00:23:41.687" v="276"/>
          <ac:spMkLst>
            <pc:docMk/>
            <pc:sldMk cId="2828604054" sldId="2147375111"/>
            <ac:spMk id="396" creationId="{782F14D4-6673-4FDE-856B-78B9E6E01A9D}"/>
          </ac:spMkLst>
        </pc:spChg>
        <pc:spChg chg="mod">
          <ac:chgData name="Rajat Taneja" userId="4ec436a0-470b-456a-af42-a15c99f1cebd" providerId="ADAL" clId="{3CFFE7A2-FFBC-49D3-B012-6FC1B0757796}" dt="2022-03-25T00:23:41.687" v="277"/>
          <ac:spMkLst>
            <pc:docMk/>
            <pc:sldMk cId="2828604054" sldId="2147375111"/>
            <ac:spMk id="397" creationId="{AE1205FE-022C-4DC2-89F9-460BD0108B40}"/>
          </ac:spMkLst>
        </pc:spChg>
        <pc:spChg chg="mod ord">
          <ac:chgData name="Rajat Taneja" userId="4ec436a0-470b-456a-af42-a15c99f1cebd" providerId="ADAL" clId="{3CFFE7A2-FFBC-49D3-B012-6FC1B0757796}" dt="2022-03-25T00:23:41.688" v="279"/>
          <ac:spMkLst>
            <pc:docMk/>
            <pc:sldMk cId="2828604054" sldId="2147375111"/>
            <ac:spMk id="404" creationId="{C2944C6C-7E1D-4D9E-A842-D0E69BBDE2F5}"/>
          </ac:spMkLst>
        </pc:spChg>
        <pc:grpChg chg="add del mod ord">
          <ac:chgData name="Rajat Taneja" userId="4ec436a0-470b-456a-af42-a15c99f1cebd" providerId="ADAL" clId="{3CFFE7A2-FFBC-49D3-B012-6FC1B0757796}" dt="2022-03-25T00:24:59.859" v="341" actId="165"/>
          <ac:grpSpMkLst>
            <pc:docMk/>
            <pc:sldMk cId="2828604054" sldId="2147375111"/>
            <ac:grpSpMk id="8" creationId="{0F133DC2-C5BD-459D-9B42-331416514E3E}"/>
          </ac:grpSpMkLst>
        </pc:grpChg>
        <pc:grpChg chg="mod ord">
          <ac:chgData name="Rajat Taneja" userId="4ec436a0-470b-456a-af42-a15c99f1cebd" providerId="ADAL" clId="{3CFFE7A2-FFBC-49D3-B012-6FC1B0757796}" dt="2022-03-25T00:23:41.659" v="184"/>
          <ac:grpSpMkLst>
            <pc:docMk/>
            <pc:sldMk cId="2828604054" sldId="2147375111"/>
            <ac:grpSpMk id="37" creationId="{AA1E4253-0D70-42A2-A6BA-0F109A0966CA}"/>
          </ac:grpSpMkLst>
        </pc:grpChg>
        <pc:grpChg chg="del">
          <ac:chgData name="Rajat Taneja" userId="4ec436a0-470b-456a-af42-a15c99f1cebd" providerId="ADAL" clId="{3CFFE7A2-FFBC-49D3-B012-6FC1B0757796}" dt="2022-03-25T00:22:38.209" v="23" actId="165"/>
          <ac:grpSpMkLst>
            <pc:docMk/>
            <pc:sldMk cId="2828604054" sldId="2147375111"/>
            <ac:grpSpMk id="38" creationId="{1AF18E79-7859-47B7-9537-77431C4F0467}"/>
          </ac:grpSpMkLst>
        </pc:grpChg>
        <pc:grpChg chg="add del">
          <ac:chgData name="Rajat Taneja" userId="4ec436a0-470b-456a-af42-a15c99f1cebd" providerId="ADAL" clId="{3CFFE7A2-FFBC-49D3-B012-6FC1B0757796}" dt="2022-03-25T00:20:03.078" v="3" actId="165"/>
          <ac:grpSpMkLst>
            <pc:docMk/>
            <pc:sldMk cId="2828604054" sldId="2147375111"/>
            <ac:grpSpMk id="39" creationId="{58546F1C-578B-4166-8D36-29AFAB95867F}"/>
          </ac:grpSpMkLst>
        </pc:grpChg>
        <pc:grpChg chg="mod ord">
          <ac:chgData name="Rajat Taneja" userId="4ec436a0-470b-456a-af42-a15c99f1cebd" providerId="ADAL" clId="{3CFFE7A2-FFBC-49D3-B012-6FC1B0757796}" dt="2022-03-25T00:23:41.663" v="194"/>
          <ac:grpSpMkLst>
            <pc:docMk/>
            <pc:sldMk cId="2828604054" sldId="2147375111"/>
            <ac:grpSpMk id="41" creationId="{C2D3AA03-6810-43E4-906C-75D640186847}"/>
          </ac:grpSpMkLst>
        </pc:grpChg>
        <pc:grpChg chg="del mod ord">
          <ac:chgData name="Rajat Taneja" userId="4ec436a0-470b-456a-af42-a15c99f1cebd" providerId="ADAL" clId="{3CFFE7A2-FFBC-49D3-B012-6FC1B0757796}" dt="2022-03-25T00:24:22.245" v="338" actId="478"/>
          <ac:grpSpMkLst>
            <pc:docMk/>
            <pc:sldMk cId="2828604054" sldId="2147375111"/>
            <ac:grpSpMk id="49" creationId="{D01D8816-2F2C-4C5B-BB8B-410F788FA79B}"/>
          </ac:grpSpMkLst>
        </pc:grpChg>
        <pc:grpChg chg="del mod topLvl">
          <ac:chgData name="Rajat Taneja" userId="4ec436a0-470b-456a-af42-a15c99f1cebd" providerId="ADAL" clId="{3CFFE7A2-FFBC-49D3-B012-6FC1B0757796}" dt="2022-03-25T00:22:43.989" v="24" actId="165"/>
          <ac:grpSpMkLst>
            <pc:docMk/>
            <pc:sldMk cId="2828604054" sldId="2147375111"/>
            <ac:grpSpMk id="53" creationId="{3D86E2F7-5DF8-4733-BF54-F85BF36EB108}"/>
          </ac:grpSpMkLst>
        </pc:grpChg>
        <pc:grpChg chg="del mod topLvl">
          <ac:chgData name="Rajat Taneja" userId="4ec436a0-470b-456a-af42-a15c99f1cebd" providerId="ADAL" clId="{3CFFE7A2-FFBC-49D3-B012-6FC1B0757796}" dt="2022-03-25T00:20:06.931" v="4" actId="478"/>
          <ac:grpSpMkLst>
            <pc:docMk/>
            <pc:sldMk cId="2828604054" sldId="2147375111"/>
            <ac:grpSpMk id="56" creationId="{69DE6371-562E-4D55-9980-033B1B2D931E}"/>
          </ac:grpSpMkLst>
        </pc:grpChg>
        <pc:grpChg chg="del mod topLvl">
          <ac:chgData name="Rajat Taneja" userId="4ec436a0-470b-456a-af42-a15c99f1cebd" providerId="ADAL" clId="{3CFFE7A2-FFBC-49D3-B012-6FC1B0757796}" dt="2022-03-25T00:20:08.925" v="5" actId="478"/>
          <ac:grpSpMkLst>
            <pc:docMk/>
            <pc:sldMk cId="2828604054" sldId="2147375111"/>
            <ac:grpSpMk id="59" creationId="{56D7AFD0-5D2E-4949-847A-EC2557040A81}"/>
          </ac:grpSpMkLst>
        </pc:grpChg>
        <pc:grpChg chg="del mod topLvl">
          <ac:chgData name="Rajat Taneja" userId="4ec436a0-470b-456a-af42-a15c99f1cebd" providerId="ADAL" clId="{3CFFE7A2-FFBC-49D3-B012-6FC1B0757796}" dt="2022-03-25T00:22:48.739" v="25" actId="165"/>
          <ac:grpSpMkLst>
            <pc:docMk/>
            <pc:sldMk cId="2828604054" sldId="2147375111"/>
            <ac:grpSpMk id="62" creationId="{8551CDA4-CC82-4FB6-AC41-3F5BEC53F6C5}"/>
          </ac:grpSpMkLst>
        </pc:grpChg>
        <pc:grpChg chg="add del mod">
          <ac:chgData name="Rajat Taneja" userId="4ec436a0-470b-456a-af42-a15c99f1cebd" providerId="ADAL" clId="{3CFFE7A2-FFBC-49D3-B012-6FC1B0757796}" dt="2022-03-25T00:20:29.249" v="8" actId="165"/>
          <ac:grpSpMkLst>
            <pc:docMk/>
            <pc:sldMk cId="2828604054" sldId="2147375111"/>
            <ac:grpSpMk id="208" creationId="{7EAF6325-F1FB-4071-BE85-0E79A5E6B6C5}"/>
          </ac:grpSpMkLst>
        </pc:grpChg>
        <pc:grpChg chg="add mod ord">
          <ac:chgData name="Rajat Taneja" userId="4ec436a0-470b-456a-af42-a15c99f1cebd" providerId="ADAL" clId="{3CFFE7A2-FFBC-49D3-B012-6FC1B0757796}" dt="2022-03-25T00:23:41.696" v="307"/>
          <ac:grpSpMkLst>
            <pc:docMk/>
            <pc:sldMk cId="2828604054" sldId="2147375111"/>
            <ac:grpSpMk id="219" creationId="{B1DF1BED-7F64-4B29-ABEF-EDE1EE4D3A11}"/>
          </ac:grpSpMkLst>
        </pc:grpChg>
        <pc:grpChg chg="mod ord">
          <ac:chgData name="Rajat Taneja" userId="4ec436a0-470b-456a-af42-a15c99f1cebd" providerId="ADAL" clId="{3CFFE7A2-FFBC-49D3-B012-6FC1B0757796}" dt="2022-03-25T00:23:41.689" v="283"/>
          <ac:grpSpMkLst>
            <pc:docMk/>
            <pc:sldMk cId="2828604054" sldId="2147375111"/>
            <ac:grpSpMk id="224" creationId="{1B1F55D0-2BF1-4162-B236-8659456ADE21}"/>
          </ac:grpSpMkLst>
        </pc:grpChg>
        <pc:grpChg chg="add mod">
          <ac:chgData name="Rajat Taneja" userId="4ec436a0-470b-456a-af42-a15c99f1cebd" providerId="ADAL" clId="{3CFFE7A2-FFBC-49D3-B012-6FC1B0757796}" dt="2022-03-25T00:24:32.047" v="340" actId="1076"/>
          <ac:grpSpMkLst>
            <pc:docMk/>
            <pc:sldMk cId="2828604054" sldId="2147375111"/>
            <ac:grpSpMk id="233" creationId="{3571ED80-E484-476E-BB09-D6B83851FB98}"/>
          </ac:grpSpMkLst>
        </pc:grpChg>
        <pc:grpChg chg="mod ord">
          <ac:chgData name="Rajat Taneja" userId="4ec436a0-470b-456a-af42-a15c99f1cebd" providerId="ADAL" clId="{3CFFE7A2-FFBC-49D3-B012-6FC1B0757796}" dt="2022-03-25T00:23:41.690" v="287"/>
          <ac:grpSpMkLst>
            <pc:docMk/>
            <pc:sldMk cId="2828604054" sldId="2147375111"/>
            <ac:grpSpMk id="252" creationId="{9B1B2C76-C5D0-4D14-9EFD-9D91D3BD2D5E}"/>
          </ac:grpSpMkLst>
        </pc:grpChg>
        <pc:grpChg chg="mod ord">
          <ac:chgData name="Rajat Taneja" userId="4ec436a0-470b-456a-af42-a15c99f1cebd" providerId="ADAL" clId="{3CFFE7A2-FFBC-49D3-B012-6FC1B0757796}" dt="2022-03-25T00:23:41.692" v="289"/>
          <ac:grpSpMkLst>
            <pc:docMk/>
            <pc:sldMk cId="2828604054" sldId="2147375111"/>
            <ac:grpSpMk id="269" creationId="{ABDF4991-A6FC-4D02-B5A7-9E6E321AC63F}"/>
          </ac:grpSpMkLst>
        </pc:grpChg>
        <pc:grpChg chg="mod ord topLvl">
          <ac:chgData name="Rajat Taneja" userId="4ec436a0-470b-456a-af42-a15c99f1cebd" providerId="ADAL" clId="{3CFFE7A2-FFBC-49D3-B012-6FC1B0757796}" dt="2022-03-25T00:23:41.660" v="188"/>
          <ac:grpSpMkLst>
            <pc:docMk/>
            <pc:sldMk cId="2828604054" sldId="2147375111"/>
            <ac:grpSpMk id="286" creationId="{3AE4AAAD-201F-40F8-9696-01C2690DE848}"/>
          </ac:grpSpMkLst>
        </pc:grpChg>
        <pc:grpChg chg="mod ord topLvl">
          <ac:chgData name="Rajat Taneja" userId="4ec436a0-470b-456a-af42-a15c99f1cebd" providerId="ADAL" clId="{3CFFE7A2-FFBC-49D3-B012-6FC1B0757796}" dt="2022-03-25T00:23:41.661" v="190"/>
          <ac:grpSpMkLst>
            <pc:docMk/>
            <pc:sldMk cId="2828604054" sldId="2147375111"/>
            <ac:grpSpMk id="291" creationId="{5A75E5B1-1CB1-4BD5-BAE4-37F2E42F8900}"/>
          </ac:grpSpMkLst>
        </pc:grpChg>
        <pc:grpChg chg="mod ord topLvl">
          <ac:chgData name="Rajat Taneja" userId="4ec436a0-470b-456a-af42-a15c99f1cebd" providerId="ADAL" clId="{3CFFE7A2-FFBC-49D3-B012-6FC1B0757796}" dt="2022-03-25T00:23:41.664" v="198"/>
          <ac:grpSpMkLst>
            <pc:docMk/>
            <pc:sldMk cId="2828604054" sldId="2147375111"/>
            <ac:grpSpMk id="311" creationId="{951C9B34-A7B8-4858-A95B-6074EAAF39CF}"/>
          </ac:grpSpMkLst>
        </pc:grpChg>
        <pc:grpChg chg="mod ord topLvl">
          <ac:chgData name="Rajat Taneja" userId="4ec436a0-470b-456a-af42-a15c99f1cebd" providerId="ADAL" clId="{3CFFE7A2-FFBC-49D3-B012-6FC1B0757796}" dt="2022-03-25T00:23:41.664" v="200"/>
          <ac:grpSpMkLst>
            <pc:docMk/>
            <pc:sldMk cId="2828604054" sldId="2147375111"/>
            <ac:grpSpMk id="316" creationId="{5FFDB4EF-48FC-47B1-9873-6F09BB1AF49C}"/>
          </ac:grpSpMkLst>
        </pc:grpChg>
        <pc:graphicFrameChg chg="mod">
          <ac:chgData name="Rajat Taneja" userId="4ec436a0-470b-456a-af42-a15c99f1cebd" providerId="ADAL" clId="{3CFFE7A2-FFBC-49D3-B012-6FC1B0757796}" dt="2022-03-25T00:23:41.712" v="316"/>
          <ac:graphicFrameMkLst>
            <pc:docMk/>
            <pc:sldMk cId="2828604054" sldId="2147375111"/>
            <ac:graphicFrameMk id="127" creationId="{1B3B73B8-A248-4BE1-8E62-811F969D9888}"/>
          </ac:graphicFrameMkLst>
        </pc:graphicFrameChg>
        <pc:graphicFrameChg chg="mod ord">
          <ac:chgData name="Rajat Taneja" userId="4ec436a0-470b-456a-af42-a15c99f1cebd" providerId="ADAL" clId="{3CFFE7A2-FFBC-49D3-B012-6FC1B0757796}" dt="2022-03-25T00:23:41.667" v="212"/>
          <ac:graphicFrameMkLst>
            <pc:docMk/>
            <pc:sldMk cId="2828604054" sldId="2147375111"/>
            <ac:graphicFrameMk id="373" creationId="{DF92B178-3962-4ADB-95B3-9DC1D3B68A3B}"/>
          </ac:graphicFrameMkLst>
        </pc:graphicFrameChg>
        <pc:graphicFrameChg chg="mod ord">
          <ac:chgData name="Rajat Taneja" userId="4ec436a0-470b-456a-af42-a15c99f1cebd" providerId="ADAL" clId="{3CFFE7A2-FFBC-49D3-B012-6FC1B0757796}" dt="2022-03-25T00:23:41.680" v="253"/>
          <ac:graphicFrameMkLst>
            <pc:docMk/>
            <pc:sldMk cId="2828604054" sldId="2147375111"/>
            <ac:graphicFrameMk id="375" creationId="{D9C22DC3-6FA5-41B9-A16E-907C3E2A120F}"/>
          </ac:graphicFrameMkLst>
        </pc:graphicFrameChg>
        <pc:picChg chg="mod ord">
          <ac:chgData name="Rajat Taneja" userId="4ec436a0-470b-456a-af42-a15c99f1cebd" providerId="ADAL" clId="{3CFFE7A2-FFBC-49D3-B012-6FC1B0757796}" dt="2022-03-25T00:23:41.655" v="168"/>
          <ac:picMkLst>
            <pc:docMk/>
            <pc:sldMk cId="2828604054" sldId="2147375111"/>
            <ac:picMk id="6" creationId="{A657B342-BE04-4424-B642-1D32C7019291}"/>
          </ac:picMkLst>
        </pc:picChg>
        <pc:picChg chg="del">
          <ac:chgData name="Rajat Taneja" userId="4ec436a0-470b-456a-af42-a15c99f1cebd" providerId="ADAL" clId="{3CFFE7A2-FFBC-49D3-B012-6FC1B0757796}" dt="2022-04-04T00:54:38.413" v="1037" actId="478"/>
          <ac:picMkLst>
            <pc:docMk/>
            <pc:sldMk cId="2828604054" sldId="2147375111"/>
            <ac:picMk id="50" creationId="{E2DB6ECB-8A09-4A61-8C5E-4BDE47681C33}"/>
          </ac:picMkLst>
        </pc:picChg>
        <pc:picChg chg="mod ord topLvl">
          <ac:chgData name="Rajat Taneja" userId="4ec436a0-470b-456a-af42-a15c99f1cebd" providerId="ADAL" clId="{3CFFE7A2-FFBC-49D3-B012-6FC1B0757796}" dt="2022-03-25T00:23:50.810" v="335" actId="1038"/>
          <ac:picMkLst>
            <pc:docMk/>
            <pc:sldMk cId="2828604054" sldId="2147375111"/>
            <ac:picMk id="55" creationId="{53D6E938-6A03-4B6D-9820-4725F1A907C1}"/>
          </ac:picMkLst>
        </pc:picChg>
        <pc:picChg chg="mod">
          <ac:chgData name="Rajat Taneja" userId="4ec436a0-470b-456a-af42-a15c99f1cebd" providerId="ADAL" clId="{3CFFE7A2-FFBC-49D3-B012-6FC1B0757796}" dt="2022-03-25T00:20:03.078" v="3" actId="165"/>
          <ac:picMkLst>
            <pc:docMk/>
            <pc:sldMk cId="2828604054" sldId="2147375111"/>
            <ac:picMk id="58" creationId="{A4D02CE6-F2D6-41A9-94A9-AA5393AAE2F3}"/>
          </ac:picMkLst>
        </pc:picChg>
        <pc:picChg chg="mod">
          <ac:chgData name="Rajat Taneja" userId="4ec436a0-470b-456a-af42-a15c99f1cebd" providerId="ADAL" clId="{3CFFE7A2-FFBC-49D3-B012-6FC1B0757796}" dt="2022-03-25T00:20:03.078" v="3" actId="165"/>
          <ac:picMkLst>
            <pc:docMk/>
            <pc:sldMk cId="2828604054" sldId="2147375111"/>
            <ac:picMk id="61" creationId="{B75ADCB4-26BD-4E26-8ED0-20D3909EBE93}"/>
          </ac:picMkLst>
        </pc:picChg>
        <pc:picChg chg="del mod ord topLvl">
          <ac:chgData name="Rajat Taneja" userId="4ec436a0-470b-456a-af42-a15c99f1cebd" providerId="ADAL" clId="{3CFFE7A2-FFBC-49D3-B012-6FC1B0757796}" dt="2022-03-25T00:23:52.792" v="336" actId="478"/>
          <ac:picMkLst>
            <pc:docMk/>
            <pc:sldMk cId="2828604054" sldId="2147375111"/>
            <ac:picMk id="64" creationId="{04CB972B-7B99-41ED-A140-C0DA46D1AF6E}"/>
          </ac:picMkLst>
        </pc:picChg>
        <pc:picChg chg="del">
          <ac:chgData name="Rajat Taneja" userId="4ec436a0-470b-456a-af42-a15c99f1cebd" providerId="ADAL" clId="{3CFFE7A2-FFBC-49D3-B012-6FC1B0757796}" dt="2022-04-04T00:54:41.478" v="1038" actId="478"/>
          <ac:picMkLst>
            <pc:docMk/>
            <pc:sldMk cId="2828604054" sldId="2147375111"/>
            <ac:picMk id="151" creationId="{70326A6A-B7ED-4DD3-A743-C02CB01F2511}"/>
          </ac:picMkLst>
        </pc:picChg>
        <pc:picChg chg="mod ord">
          <ac:chgData name="Rajat Taneja" userId="4ec436a0-470b-456a-af42-a15c99f1cebd" providerId="ADAL" clId="{3CFFE7A2-FFBC-49D3-B012-6FC1B0757796}" dt="2022-03-25T00:23:41.658" v="180"/>
          <ac:picMkLst>
            <pc:docMk/>
            <pc:sldMk cId="2828604054" sldId="2147375111"/>
            <ac:picMk id="155" creationId="{3EC6B6AC-6822-41F4-A747-95C065F4E60D}"/>
          </ac:picMkLst>
        </pc:picChg>
        <pc:picChg chg="mod ord">
          <ac:chgData name="Rajat Taneja" userId="4ec436a0-470b-456a-af42-a15c99f1cebd" providerId="ADAL" clId="{3CFFE7A2-FFBC-49D3-B012-6FC1B0757796}" dt="2022-03-25T00:23:41.647" v="132"/>
          <ac:picMkLst>
            <pc:docMk/>
            <pc:sldMk cId="2828604054" sldId="2147375111"/>
            <ac:picMk id="162" creationId="{62F9300A-3A90-46F8-9D10-4883C004577E}"/>
          </ac:picMkLst>
        </pc:picChg>
        <pc:picChg chg="mod ord">
          <ac:chgData name="Rajat Taneja" userId="4ec436a0-470b-456a-af42-a15c99f1cebd" providerId="ADAL" clId="{3CFFE7A2-FFBC-49D3-B012-6FC1B0757796}" dt="2022-03-25T00:23:41.649" v="144"/>
          <ac:picMkLst>
            <pc:docMk/>
            <pc:sldMk cId="2828604054" sldId="2147375111"/>
            <ac:picMk id="168" creationId="{674282B3-89F7-4FCD-9218-4C0F3B59E689}"/>
          </ac:picMkLst>
        </pc:picChg>
        <pc:picChg chg="mod ord">
          <ac:chgData name="Rajat Taneja" userId="4ec436a0-470b-456a-af42-a15c99f1cebd" providerId="ADAL" clId="{3CFFE7A2-FFBC-49D3-B012-6FC1B0757796}" dt="2022-03-25T00:23:41.652" v="156"/>
          <ac:picMkLst>
            <pc:docMk/>
            <pc:sldMk cId="2828604054" sldId="2147375111"/>
            <ac:picMk id="174" creationId="{8EA7CA50-90C8-409C-92B0-39BDEC8D07ED}"/>
          </ac:picMkLst>
        </pc:picChg>
        <pc:picChg chg="mod topLvl">
          <ac:chgData name="Rajat Taneja" userId="4ec436a0-470b-456a-af42-a15c99f1cebd" providerId="ADAL" clId="{3CFFE7A2-FFBC-49D3-B012-6FC1B0757796}" dt="2022-03-25T00:24:59.859" v="341" actId="165"/>
          <ac:picMkLst>
            <pc:docMk/>
            <pc:sldMk cId="2828604054" sldId="2147375111"/>
            <ac:picMk id="209" creationId="{E1CBCACC-1F1F-44AD-88B7-441545D37026}"/>
          </ac:picMkLst>
        </pc:picChg>
        <pc:picChg chg="add del mod topLvl">
          <ac:chgData name="Rajat Taneja" userId="4ec436a0-470b-456a-af42-a15c99f1cebd" providerId="ADAL" clId="{3CFFE7A2-FFBC-49D3-B012-6FC1B0757796}" dt="2022-03-25T00:25:05.426" v="343" actId="478"/>
          <ac:picMkLst>
            <pc:docMk/>
            <pc:sldMk cId="2828604054" sldId="2147375111"/>
            <ac:picMk id="217" creationId="{90AD56B6-4646-4F7C-B7DF-75B2DEDF4E50}"/>
          </ac:picMkLst>
        </pc:picChg>
        <pc:picChg chg="mod">
          <ac:chgData name="Rajat Taneja" userId="4ec436a0-470b-456a-af42-a15c99f1cebd" providerId="ADAL" clId="{3CFFE7A2-FFBC-49D3-B012-6FC1B0757796}" dt="2022-03-25T00:22:21.584" v="22" actId="571"/>
          <ac:picMkLst>
            <pc:docMk/>
            <pc:sldMk cId="2828604054" sldId="2147375111"/>
            <ac:picMk id="220" creationId="{3EC60FF2-6074-4BF8-A2AF-EE8631068D0E}"/>
          </ac:picMkLst>
        </pc:picChg>
        <pc:picChg chg="mod ord">
          <ac:chgData name="Rajat Taneja" userId="4ec436a0-470b-456a-af42-a15c99f1cebd" providerId="ADAL" clId="{3CFFE7A2-FFBC-49D3-B012-6FC1B0757796}" dt="2022-03-25T00:23:41.688" v="281"/>
          <ac:picMkLst>
            <pc:docMk/>
            <pc:sldMk cId="2828604054" sldId="2147375111"/>
            <ac:picMk id="223" creationId="{2C0E8924-F73E-42CE-9CEE-8486B500A9B5}"/>
          </ac:picMkLst>
        </pc:picChg>
        <pc:picChg chg="mod ord">
          <ac:chgData name="Rajat Taneja" userId="4ec436a0-470b-456a-af42-a15c99f1cebd" providerId="ADAL" clId="{3CFFE7A2-FFBC-49D3-B012-6FC1B0757796}" dt="2022-03-25T00:23:41.689" v="285"/>
          <ac:picMkLst>
            <pc:docMk/>
            <pc:sldMk cId="2828604054" sldId="2147375111"/>
            <ac:picMk id="227" creationId="{1470F65C-8847-41E8-82B0-EE519AF7DAF9}"/>
          </ac:picMkLst>
        </pc:picChg>
        <pc:picChg chg="mod">
          <ac:chgData name="Rajat Taneja" userId="4ec436a0-470b-456a-af42-a15c99f1cebd" providerId="ADAL" clId="{3CFFE7A2-FFBC-49D3-B012-6FC1B0757796}" dt="2022-03-25T00:22:21.584" v="22" actId="571"/>
          <ac:picMkLst>
            <pc:docMk/>
            <pc:sldMk cId="2828604054" sldId="2147375111"/>
            <ac:picMk id="228" creationId="{B71524E2-2455-438C-A4AE-4BF5129FA569}"/>
          </ac:picMkLst>
        </pc:picChg>
        <pc:picChg chg="add mod">
          <ac:chgData name="Rajat Taneja" userId="4ec436a0-470b-456a-af42-a15c99f1cebd" providerId="ADAL" clId="{3CFFE7A2-FFBC-49D3-B012-6FC1B0757796}" dt="2022-03-25T00:23:58.009" v="337" actId="571"/>
          <ac:picMkLst>
            <pc:docMk/>
            <pc:sldMk cId="2828604054" sldId="2147375111"/>
            <ac:picMk id="232" creationId="{E1673B59-FC8D-4959-8571-84F46A8CFBF8}"/>
          </ac:picMkLst>
        </pc:picChg>
        <pc:picChg chg="mod">
          <ac:chgData name="Rajat Taneja" userId="4ec436a0-470b-456a-af42-a15c99f1cebd" providerId="ADAL" clId="{3CFFE7A2-FFBC-49D3-B012-6FC1B0757796}" dt="2022-03-25T00:24:27.953" v="339"/>
          <ac:picMkLst>
            <pc:docMk/>
            <pc:sldMk cId="2828604054" sldId="2147375111"/>
            <ac:picMk id="234" creationId="{523749F5-FF8E-4FF1-B34F-1CC6637311E8}"/>
          </ac:picMkLst>
        </pc:picChg>
        <pc:picChg chg="mod">
          <ac:chgData name="Rajat Taneja" userId="4ec436a0-470b-456a-af42-a15c99f1cebd" providerId="ADAL" clId="{3CFFE7A2-FFBC-49D3-B012-6FC1B0757796}" dt="2022-03-25T00:24:27.953" v="339"/>
          <ac:picMkLst>
            <pc:docMk/>
            <pc:sldMk cId="2828604054" sldId="2147375111"/>
            <ac:picMk id="240" creationId="{0A511EFB-2899-428C-BEE6-F50A5F4C73BE}"/>
          </ac:picMkLst>
        </pc:picChg>
        <pc:picChg chg="mod">
          <ac:chgData name="Rajat Taneja" userId="4ec436a0-470b-456a-af42-a15c99f1cebd" providerId="ADAL" clId="{3CFFE7A2-FFBC-49D3-B012-6FC1B0757796}" dt="2022-03-25T00:22:38.209" v="23" actId="165"/>
          <ac:picMkLst>
            <pc:docMk/>
            <pc:sldMk cId="2828604054" sldId="2147375111"/>
            <ac:picMk id="287" creationId="{20755557-B09D-4B00-AE97-AAEB1B22E8CC}"/>
          </ac:picMkLst>
        </pc:picChg>
        <pc:picChg chg="mod">
          <ac:chgData name="Rajat Taneja" userId="4ec436a0-470b-456a-af42-a15c99f1cebd" providerId="ADAL" clId="{3CFFE7A2-FFBC-49D3-B012-6FC1B0757796}" dt="2022-03-25T00:22:38.209" v="23" actId="165"/>
          <ac:picMkLst>
            <pc:docMk/>
            <pc:sldMk cId="2828604054" sldId="2147375111"/>
            <ac:picMk id="288" creationId="{72FECFB0-231A-456A-8121-EC14B1747612}"/>
          </ac:picMkLst>
        </pc:picChg>
        <pc:picChg chg="mod">
          <ac:chgData name="Rajat Taneja" userId="4ec436a0-470b-456a-af42-a15c99f1cebd" providerId="ADAL" clId="{3CFFE7A2-FFBC-49D3-B012-6FC1B0757796}" dt="2022-03-25T00:22:38.209" v="23" actId="165"/>
          <ac:picMkLst>
            <pc:docMk/>
            <pc:sldMk cId="2828604054" sldId="2147375111"/>
            <ac:picMk id="289" creationId="{1A4ADB46-0AF7-475C-8E56-D96293C4E739}"/>
          </ac:picMkLst>
        </pc:picChg>
        <pc:picChg chg="mod">
          <ac:chgData name="Rajat Taneja" userId="4ec436a0-470b-456a-af42-a15c99f1cebd" providerId="ADAL" clId="{3CFFE7A2-FFBC-49D3-B012-6FC1B0757796}" dt="2022-03-25T00:22:38.209" v="23" actId="165"/>
          <ac:picMkLst>
            <pc:docMk/>
            <pc:sldMk cId="2828604054" sldId="2147375111"/>
            <ac:picMk id="290" creationId="{EE3E698C-59E5-46BE-87A8-E13B686B604E}"/>
          </ac:picMkLst>
        </pc:picChg>
        <pc:picChg chg="mod">
          <ac:chgData name="Rajat Taneja" userId="4ec436a0-470b-456a-af42-a15c99f1cebd" providerId="ADAL" clId="{3CFFE7A2-FFBC-49D3-B012-6FC1B0757796}" dt="2022-03-25T00:22:38.209" v="23" actId="165"/>
          <ac:picMkLst>
            <pc:docMk/>
            <pc:sldMk cId="2828604054" sldId="2147375111"/>
            <ac:picMk id="292" creationId="{D4AED7E4-FE51-4359-B55A-239CFFB8A28F}"/>
          </ac:picMkLst>
        </pc:picChg>
        <pc:picChg chg="mod">
          <ac:chgData name="Rajat Taneja" userId="4ec436a0-470b-456a-af42-a15c99f1cebd" providerId="ADAL" clId="{3CFFE7A2-FFBC-49D3-B012-6FC1B0757796}" dt="2022-03-25T00:22:38.209" v="23" actId="165"/>
          <ac:picMkLst>
            <pc:docMk/>
            <pc:sldMk cId="2828604054" sldId="2147375111"/>
            <ac:picMk id="293" creationId="{50786FCE-1C7E-411A-89C5-10FC26984316}"/>
          </ac:picMkLst>
        </pc:picChg>
        <pc:picChg chg="mod">
          <ac:chgData name="Rajat Taneja" userId="4ec436a0-470b-456a-af42-a15c99f1cebd" providerId="ADAL" clId="{3CFFE7A2-FFBC-49D3-B012-6FC1B0757796}" dt="2022-03-25T00:22:38.209" v="23" actId="165"/>
          <ac:picMkLst>
            <pc:docMk/>
            <pc:sldMk cId="2828604054" sldId="2147375111"/>
            <ac:picMk id="294" creationId="{EE8866E1-A29C-4035-B22E-9B01947247AF}"/>
          </ac:picMkLst>
        </pc:picChg>
        <pc:picChg chg="mod">
          <ac:chgData name="Rajat Taneja" userId="4ec436a0-470b-456a-af42-a15c99f1cebd" providerId="ADAL" clId="{3CFFE7A2-FFBC-49D3-B012-6FC1B0757796}" dt="2022-03-25T00:22:38.209" v="23" actId="165"/>
          <ac:picMkLst>
            <pc:docMk/>
            <pc:sldMk cId="2828604054" sldId="2147375111"/>
            <ac:picMk id="295" creationId="{B155EBC6-5225-4AC4-8A88-7F3AFADD3C2C}"/>
          </ac:picMkLst>
        </pc:picChg>
        <pc:picChg chg="mod">
          <ac:chgData name="Rajat Taneja" userId="4ec436a0-470b-456a-af42-a15c99f1cebd" providerId="ADAL" clId="{3CFFE7A2-FFBC-49D3-B012-6FC1B0757796}" dt="2022-03-25T00:20:03.078" v="3" actId="165"/>
          <ac:picMkLst>
            <pc:docMk/>
            <pc:sldMk cId="2828604054" sldId="2147375111"/>
            <ac:picMk id="312" creationId="{E56D00D1-A265-4144-A4AF-A095342A9B72}"/>
          </ac:picMkLst>
        </pc:picChg>
        <pc:picChg chg="mod">
          <ac:chgData name="Rajat Taneja" userId="4ec436a0-470b-456a-af42-a15c99f1cebd" providerId="ADAL" clId="{3CFFE7A2-FFBC-49D3-B012-6FC1B0757796}" dt="2022-03-25T00:20:03.078" v="3" actId="165"/>
          <ac:picMkLst>
            <pc:docMk/>
            <pc:sldMk cId="2828604054" sldId="2147375111"/>
            <ac:picMk id="313" creationId="{7433B5FB-D123-419C-BF33-224A99ABE6C4}"/>
          </ac:picMkLst>
        </pc:picChg>
        <pc:picChg chg="mod">
          <ac:chgData name="Rajat Taneja" userId="4ec436a0-470b-456a-af42-a15c99f1cebd" providerId="ADAL" clId="{3CFFE7A2-FFBC-49D3-B012-6FC1B0757796}" dt="2022-03-25T00:20:03.078" v="3" actId="165"/>
          <ac:picMkLst>
            <pc:docMk/>
            <pc:sldMk cId="2828604054" sldId="2147375111"/>
            <ac:picMk id="314" creationId="{07DE0084-1E86-443F-96F8-CF943F6481FD}"/>
          </ac:picMkLst>
        </pc:picChg>
        <pc:picChg chg="mod">
          <ac:chgData name="Rajat Taneja" userId="4ec436a0-470b-456a-af42-a15c99f1cebd" providerId="ADAL" clId="{3CFFE7A2-FFBC-49D3-B012-6FC1B0757796}" dt="2022-03-25T00:20:03.078" v="3" actId="165"/>
          <ac:picMkLst>
            <pc:docMk/>
            <pc:sldMk cId="2828604054" sldId="2147375111"/>
            <ac:picMk id="315" creationId="{65CE901E-6A58-4283-96DE-25194E78B735}"/>
          </ac:picMkLst>
        </pc:picChg>
        <pc:picChg chg="mod">
          <ac:chgData name="Rajat Taneja" userId="4ec436a0-470b-456a-af42-a15c99f1cebd" providerId="ADAL" clId="{3CFFE7A2-FFBC-49D3-B012-6FC1B0757796}" dt="2022-03-25T00:20:03.078" v="3" actId="165"/>
          <ac:picMkLst>
            <pc:docMk/>
            <pc:sldMk cId="2828604054" sldId="2147375111"/>
            <ac:picMk id="317" creationId="{BE8506FB-0464-48F1-934B-E1CCBB0C9615}"/>
          </ac:picMkLst>
        </pc:picChg>
        <pc:picChg chg="mod">
          <ac:chgData name="Rajat Taneja" userId="4ec436a0-470b-456a-af42-a15c99f1cebd" providerId="ADAL" clId="{3CFFE7A2-FFBC-49D3-B012-6FC1B0757796}" dt="2022-03-25T00:20:03.078" v="3" actId="165"/>
          <ac:picMkLst>
            <pc:docMk/>
            <pc:sldMk cId="2828604054" sldId="2147375111"/>
            <ac:picMk id="318" creationId="{2832EC29-5764-4CC5-98F8-12F4F5312248}"/>
          </ac:picMkLst>
        </pc:picChg>
        <pc:picChg chg="mod">
          <ac:chgData name="Rajat Taneja" userId="4ec436a0-470b-456a-af42-a15c99f1cebd" providerId="ADAL" clId="{3CFFE7A2-FFBC-49D3-B012-6FC1B0757796}" dt="2022-03-25T00:20:03.078" v="3" actId="165"/>
          <ac:picMkLst>
            <pc:docMk/>
            <pc:sldMk cId="2828604054" sldId="2147375111"/>
            <ac:picMk id="319" creationId="{7B06539E-5340-4BF7-A054-8D81BC990D9C}"/>
          </ac:picMkLst>
        </pc:picChg>
        <pc:picChg chg="mod">
          <ac:chgData name="Rajat Taneja" userId="4ec436a0-470b-456a-af42-a15c99f1cebd" providerId="ADAL" clId="{3CFFE7A2-FFBC-49D3-B012-6FC1B0757796}" dt="2022-03-25T00:20:03.078" v="3" actId="165"/>
          <ac:picMkLst>
            <pc:docMk/>
            <pc:sldMk cId="2828604054" sldId="2147375111"/>
            <ac:picMk id="320" creationId="{067F52CA-56E2-4463-BBFB-BBAFA4CB968B}"/>
          </ac:picMkLst>
        </pc:picChg>
        <pc:picChg chg="mod ord">
          <ac:chgData name="Rajat Taneja" userId="4ec436a0-470b-456a-af42-a15c99f1cebd" providerId="ADAL" clId="{3CFFE7A2-FFBC-49D3-B012-6FC1B0757796}" dt="2022-03-25T00:23:41.694" v="295"/>
          <ac:picMkLst>
            <pc:docMk/>
            <pc:sldMk cId="2828604054" sldId="2147375111"/>
            <ac:picMk id="360" creationId="{D68FCC1F-6FB7-4A34-A0AE-8AC74D9A6C82}"/>
          </ac:picMkLst>
        </pc:picChg>
        <pc:cxnChg chg="mod ord">
          <ac:chgData name="Rajat Taneja" userId="4ec436a0-470b-456a-af42-a15c99f1cebd" providerId="ADAL" clId="{3CFFE7A2-FFBC-49D3-B012-6FC1B0757796}" dt="2022-03-25T00:23:41.668" v="216"/>
          <ac:cxnSpMkLst>
            <pc:docMk/>
            <pc:sldMk cId="2828604054" sldId="2147375111"/>
            <ac:cxnSpMk id="44" creationId="{CF370B53-008B-42A0-978D-8C6185AC369D}"/>
          </ac:cxnSpMkLst>
        </pc:cxnChg>
        <pc:cxnChg chg="mod ord">
          <ac:chgData name="Rajat Taneja" userId="4ec436a0-470b-456a-af42-a15c99f1cebd" providerId="ADAL" clId="{3CFFE7A2-FFBC-49D3-B012-6FC1B0757796}" dt="2022-03-25T00:23:41.669" v="218"/>
          <ac:cxnSpMkLst>
            <pc:docMk/>
            <pc:sldMk cId="2828604054" sldId="2147375111"/>
            <ac:cxnSpMk id="45" creationId="{21F10D00-4333-4ECF-9C5E-9E010846D89A}"/>
          </ac:cxnSpMkLst>
        </pc:cxnChg>
        <pc:cxnChg chg="mod ord">
          <ac:chgData name="Rajat Taneja" userId="4ec436a0-470b-456a-af42-a15c99f1cebd" providerId="ADAL" clId="{3CFFE7A2-FFBC-49D3-B012-6FC1B0757796}" dt="2022-03-25T00:23:41.669" v="220"/>
          <ac:cxnSpMkLst>
            <pc:docMk/>
            <pc:sldMk cId="2828604054" sldId="2147375111"/>
            <ac:cxnSpMk id="46" creationId="{C22E7EA5-E370-4010-90C6-FED735242800}"/>
          </ac:cxnSpMkLst>
        </pc:cxnChg>
        <pc:cxnChg chg="mod ord">
          <ac:chgData name="Rajat Taneja" userId="4ec436a0-470b-456a-af42-a15c99f1cebd" providerId="ADAL" clId="{3CFFE7A2-FFBC-49D3-B012-6FC1B0757796}" dt="2022-03-25T00:23:41.668" v="214"/>
          <ac:cxnSpMkLst>
            <pc:docMk/>
            <pc:sldMk cId="2828604054" sldId="2147375111"/>
            <ac:cxnSpMk id="66" creationId="{1A41918F-9B89-4C43-B496-F2E6E742B65C}"/>
          </ac:cxnSpMkLst>
        </pc:cxnChg>
        <pc:cxnChg chg="mod ord">
          <ac:chgData name="Rajat Taneja" userId="4ec436a0-470b-456a-af42-a15c99f1cebd" providerId="ADAL" clId="{3CFFE7A2-FFBC-49D3-B012-6FC1B0757796}" dt="2022-03-25T00:23:41.669" v="222"/>
          <ac:cxnSpMkLst>
            <pc:docMk/>
            <pc:sldMk cId="2828604054" sldId="2147375111"/>
            <ac:cxnSpMk id="67" creationId="{DA55F33B-AC4D-487D-A83A-FAEB69ABE78E}"/>
          </ac:cxnSpMkLst>
        </pc:cxnChg>
        <pc:cxnChg chg="mod ord">
          <ac:chgData name="Rajat Taneja" userId="4ec436a0-470b-456a-af42-a15c99f1cebd" providerId="ADAL" clId="{3CFFE7A2-FFBC-49D3-B012-6FC1B0757796}" dt="2022-03-25T00:23:41.670" v="224"/>
          <ac:cxnSpMkLst>
            <pc:docMk/>
            <pc:sldMk cId="2828604054" sldId="2147375111"/>
            <ac:cxnSpMk id="69" creationId="{E170D020-ED2B-43FD-A97A-F879851716B8}"/>
          </ac:cxnSpMkLst>
        </pc:cxnChg>
      </pc:sldChg>
      <pc:sldChg chg="addSp delSp modSp mod ord">
        <pc:chgData name="Rajat Taneja" userId="4ec436a0-470b-456a-af42-a15c99f1cebd" providerId="ADAL" clId="{3CFFE7A2-FFBC-49D3-B012-6FC1B0757796}" dt="2022-04-04T00:13:13.697" v="765"/>
        <pc:sldMkLst>
          <pc:docMk/>
          <pc:sldMk cId="3398375986" sldId="2147375112"/>
        </pc:sldMkLst>
        <pc:spChg chg="mod">
          <ac:chgData name="Rajat Taneja" userId="4ec436a0-470b-456a-af42-a15c99f1cebd" providerId="ADAL" clId="{3CFFE7A2-FFBC-49D3-B012-6FC1B0757796}" dt="2022-04-03T23:24:14.974" v="345" actId="948"/>
          <ac:spMkLst>
            <pc:docMk/>
            <pc:sldMk cId="3398375986" sldId="2147375112"/>
            <ac:spMk id="3" creationId="{9FF03CE5-21BB-48BB-BB76-1390A59927D0}"/>
          </ac:spMkLst>
        </pc:spChg>
        <pc:spChg chg="add del mod modVis">
          <ac:chgData name="Rajat Taneja" userId="4ec436a0-470b-456a-af42-a15c99f1cebd" providerId="ADAL" clId="{3CFFE7A2-FFBC-49D3-B012-6FC1B0757796}" dt="2022-04-03T23:24:15.033" v="385"/>
          <ac:spMkLst>
            <pc:docMk/>
            <pc:sldMk cId="3398375986" sldId="2147375112"/>
            <ac:spMk id="13" creationId="{57941794-9F04-4D22-BB7E-AAE976F6EF16}"/>
          </ac:spMkLst>
        </pc:spChg>
        <pc:graphicFrameChg chg="mod">
          <ac:chgData name="Rajat Taneja" userId="4ec436a0-470b-456a-af42-a15c99f1cebd" providerId="ADAL" clId="{3CFFE7A2-FFBC-49D3-B012-6FC1B0757796}" dt="2022-04-03T23:24:15.043" v="387"/>
          <ac:graphicFrameMkLst>
            <pc:docMk/>
            <pc:sldMk cId="3398375986" sldId="2147375112"/>
            <ac:graphicFrameMk id="6" creationId="{14670758-5724-42E7-9D8A-88AF093D1643}"/>
          </ac:graphicFrameMkLst>
        </pc:graphicFrameChg>
      </pc:sldChg>
      <pc:sldChg chg="addSp delSp modSp mod ord">
        <pc:chgData name="Rajat Taneja" userId="4ec436a0-470b-456a-af42-a15c99f1cebd" providerId="ADAL" clId="{3CFFE7A2-FFBC-49D3-B012-6FC1B0757796}" dt="2022-04-04T01:17:03.292" v="1240"/>
        <pc:sldMkLst>
          <pc:docMk/>
          <pc:sldMk cId="675763070" sldId="2147375113"/>
        </pc:sldMkLst>
        <pc:spChg chg="del">
          <ac:chgData name="Rajat Taneja" userId="4ec436a0-470b-456a-af42-a15c99f1cebd" providerId="ADAL" clId="{3CFFE7A2-FFBC-49D3-B012-6FC1B0757796}" dt="2022-04-04T01:14:09.869" v="1044" actId="478"/>
          <ac:spMkLst>
            <pc:docMk/>
            <pc:sldMk cId="675763070" sldId="2147375113"/>
            <ac:spMk id="7" creationId="{9F5945BE-160D-4569-B5C2-499410DA0D8A}"/>
          </ac:spMkLst>
        </pc:spChg>
        <pc:spChg chg="del">
          <ac:chgData name="Rajat Taneja" userId="4ec436a0-470b-456a-af42-a15c99f1cebd" providerId="ADAL" clId="{3CFFE7A2-FFBC-49D3-B012-6FC1B0757796}" dt="2022-04-04T01:14:09.869" v="1044" actId="478"/>
          <ac:spMkLst>
            <pc:docMk/>
            <pc:sldMk cId="675763070" sldId="2147375113"/>
            <ac:spMk id="8" creationId="{11CAEEAA-AF17-4783-948B-197CC0F25570}"/>
          </ac:spMkLst>
        </pc:spChg>
        <pc:spChg chg="del">
          <ac:chgData name="Rajat Taneja" userId="4ec436a0-470b-456a-af42-a15c99f1cebd" providerId="ADAL" clId="{3CFFE7A2-FFBC-49D3-B012-6FC1B0757796}" dt="2022-04-04T01:14:09.869" v="1044" actId="478"/>
          <ac:spMkLst>
            <pc:docMk/>
            <pc:sldMk cId="675763070" sldId="2147375113"/>
            <ac:spMk id="9" creationId="{3FFC7F69-146C-453D-AC03-C81FFFA1413A}"/>
          </ac:spMkLst>
        </pc:spChg>
        <pc:spChg chg="del">
          <ac:chgData name="Rajat Taneja" userId="4ec436a0-470b-456a-af42-a15c99f1cebd" providerId="ADAL" clId="{3CFFE7A2-FFBC-49D3-B012-6FC1B0757796}" dt="2022-04-04T01:14:09.869" v="1044" actId="478"/>
          <ac:spMkLst>
            <pc:docMk/>
            <pc:sldMk cId="675763070" sldId="2147375113"/>
            <ac:spMk id="10" creationId="{95274115-840E-4EB1-A380-896AA0CE651D}"/>
          </ac:spMkLst>
        </pc:spChg>
        <pc:spChg chg="add mod">
          <ac:chgData name="Rajat Taneja" userId="4ec436a0-470b-456a-af42-a15c99f1cebd" providerId="ADAL" clId="{3CFFE7A2-FFBC-49D3-B012-6FC1B0757796}" dt="2022-04-04T01:16:15.365" v="1233" actId="1037"/>
          <ac:spMkLst>
            <pc:docMk/>
            <pc:sldMk cId="675763070" sldId="2147375113"/>
            <ac:spMk id="28" creationId="{D969D475-B970-41F7-BBF3-293B26F7AF3E}"/>
          </ac:spMkLst>
        </pc:spChg>
        <pc:spChg chg="add mod">
          <ac:chgData name="Rajat Taneja" userId="4ec436a0-470b-456a-af42-a15c99f1cebd" providerId="ADAL" clId="{3CFFE7A2-FFBC-49D3-B012-6FC1B0757796}" dt="2022-04-04T01:16:15.365" v="1233" actId="1037"/>
          <ac:spMkLst>
            <pc:docMk/>
            <pc:sldMk cId="675763070" sldId="2147375113"/>
            <ac:spMk id="29" creationId="{1C20B709-60AE-4F27-BDDE-C3C9989715AC}"/>
          </ac:spMkLst>
        </pc:spChg>
        <pc:spChg chg="add mod">
          <ac:chgData name="Rajat Taneja" userId="4ec436a0-470b-456a-af42-a15c99f1cebd" providerId="ADAL" clId="{3CFFE7A2-FFBC-49D3-B012-6FC1B0757796}" dt="2022-04-04T01:16:15.365" v="1233" actId="1037"/>
          <ac:spMkLst>
            <pc:docMk/>
            <pc:sldMk cId="675763070" sldId="2147375113"/>
            <ac:spMk id="30" creationId="{098A5F34-41E2-42D4-8F7A-AAEF62D9FF3D}"/>
          </ac:spMkLst>
        </pc:spChg>
        <pc:spChg chg="add mod">
          <ac:chgData name="Rajat Taneja" userId="4ec436a0-470b-456a-af42-a15c99f1cebd" providerId="ADAL" clId="{3CFFE7A2-FFBC-49D3-B012-6FC1B0757796}" dt="2022-04-04T01:16:15.365" v="1233" actId="1037"/>
          <ac:spMkLst>
            <pc:docMk/>
            <pc:sldMk cId="675763070" sldId="2147375113"/>
            <ac:spMk id="31" creationId="{52861ED8-0413-4235-AB81-D488D5F4762E}"/>
          </ac:spMkLst>
        </pc:spChg>
        <pc:spChg chg="add mod">
          <ac:chgData name="Rajat Taneja" userId="4ec436a0-470b-456a-af42-a15c99f1cebd" providerId="ADAL" clId="{3CFFE7A2-FFBC-49D3-B012-6FC1B0757796}" dt="2022-04-04T01:16:15.365" v="1233" actId="1037"/>
          <ac:spMkLst>
            <pc:docMk/>
            <pc:sldMk cId="675763070" sldId="2147375113"/>
            <ac:spMk id="32" creationId="{8E96A07A-FF8B-4034-80D4-FC9D373A14B6}"/>
          </ac:spMkLst>
        </pc:spChg>
        <pc:spChg chg="add mod">
          <ac:chgData name="Rajat Taneja" userId="4ec436a0-470b-456a-af42-a15c99f1cebd" providerId="ADAL" clId="{3CFFE7A2-FFBC-49D3-B012-6FC1B0757796}" dt="2022-04-04T01:16:15.365" v="1233" actId="1037"/>
          <ac:spMkLst>
            <pc:docMk/>
            <pc:sldMk cId="675763070" sldId="2147375113"/>
            <ac:spMk id="34" creationId="{5A8440E2-858D-4B56-8724-D919D82E041E}"/>
          </ac:spMkLst>
        </pc:spChg>
        <pc:spChg chg="add mod">
          <ac:chgData name="Rajat Taneja" userId="4ec436a0-470b-456a-af42-a15c99f1cebd" providerId="ADAL" clId="{3CFFE7A2-FFBC-49D3-B012-6FC1B0757796}" dt="2022-04-04T01:16:15.365" v="1233" actId="1037"/>
          <ac:spMkLst>
            <pc:docMk/>
            <pc:sldMk cId="675763070" sldId="2147375113"/>
            <ac:spMk id="35" creationId="{42932F3E-C4BA-4B7B-ABE0-4BFD1DBB0384}"/>
          </ac:spMkLst>
        </pc:spChg>
        <pc:spChg chg="add mod">
          <ac:chgData name="Rajat Taneja" userId="4ec436a0-470b-456a-af42-a15c99f1cebd" providerId="ADAL" clId="{3CFFE7A2-FFBC-49D3-B012-6FC1B0757796}" dt="2022-04-04T01:16:15.365" v="1233" actId="1037"/>
          <ac:spMkLst>
            <pc:docMk/>
            <pc:sldMk cId="675763070" sldId="2147375113"/>
            <ac:spMk id="36" creationId="{C367F683-A0BC-4B67-9F8E-CD2603458C8A}"/>
          </ac:spMkLst>
        </pc:spChg>
        <pc:spChg chg="add mod">
          <ac:chgData name="Rajat Taneja" userId="4ec436a0-470b-456a-af42-a15c99f1cebd" providerId="ADAL" clId="{3CFFE7A2-FFBC-49D3-B012-6FC1B0757796}" dt="2022-04-04T01:16:15.365" v="1233" actId="1037"/>
          <ac:spMkLst>
            <pc:docMk/>
            <pc:sldMk cId="675763070" sldId="2147375113"/>
            <ac:spMk id="37" creationId="{A01B46F3-0B8D-4CEA-8370-0002F66FF0B0}"/>
          </ac:spMkLst>
        </pc:spChg>
        <pc:spChg chg="add mod">
          <ac:chgData name="Rajat Taneja" userId="4ec436a0-470b-456a-af42-a15c99f1cebd" providerId="ADAL" clId="{3CFFE7A2-FFBC-49D3-B012-6FC1B0757796}" dt="2022-04-04T01:16:15.365" v="1233" actId="1037"/>
          <ac:spMkLst>
            <pc:docMk/>
            <pc:sldMk cId="675763070" sldId="2147375113"/>
            <ac:spMk id="38" creationId="{E771AF4A-DA65-484A-BCF3-F6BAE6557C7A}"/>
          </ac:spMkLst>
        </pc:spChg>
        <pc:spChg chg="add mod">
          <ac:chgData name="Rajat Taneja" userId="4ec436a0-470b-456a-af42-a15c99f1cebd" providerId="ADAL" clId="{3CFFE7A2-FFBC-49D3-B012-6FC1B0757796}" dt="2022-04-04T01:16:15.365" v="1233" actId="1037"/>
          <ac:spMkLst>
            <pc:docMk/>
            <pc:sldMk cId="675763070" sldId="2147375113"/>
            <ac:spMk id="40" creationId="{CEDF371B-0802-406C-B87A-68F665DCC294}"/>
          </ac:spMkLst>
        </pc:spChg>
        <pc:spChg chg="add mod">
          <ac:chgData name="Rajat Taneja" userId="4ec436a0-470b-456a-af42-a15c99f1cebd" providerId="ADAL" clId="{3CFFE7A2-FFBC-49D3-B012-6FC1B0757796}" dt="2022-04-04T01:16:15.365" v="1233" actId="1037"/>
          <ac:spMkLst>
            <pc:docMk/>
            <pc:sldMk cId="675763070" sldId="2147375113"/>
            <ac:spMk id="41" creationId="{B4DE76ED-291E-4156-90C3-FB53673F6343}"/>
          </ac:spMkLst>
        </pc:spChg>
        <pc:spChg chg="add mod">
          <ac:chgData name="Rajat Taneja" userId="4ec436a0-470b-456a-af42-a15c99f1cebd" providerId="ADAL" clId="{3CFFE7A2-FFBC-49D3-B012-6FC1B0757796}" dt="2022-04-04T01:16:15.365" v="1233" actId="1037"/>
          <ac:spMkLst>
            <pc:docMk/>
            <pc:sldMk cId="675763070" sldId="2147375113"/>
            <ac:spMk id="42" creationId="{95625D5D-666A-40AB-9EE1-4837A555332D}"/>
          </ac:spMkLst>
        </pc:spChg>
        <pc:spChg chg="add mod">
          <ac:chgData name="Rajat Taneja" userId="4ec436a0-470b-456a-af42-a15c99f1cebd" providerId="ADAL" clId="{3CFFE7A2-FFBC-49D3-B012-6FC1B0757796}" dt="2022-04-04T01:16:15.365" v="1233" actId="1037"/>
          <ac:spMkLst>
            <pc:docMk/>
            <pc:sldMk cId="675763070" sldId="2147375113"/>
            <ac:spMk id="43" creationId="{579FA141-6422-4517-AEDB-8AA1B5BE65CF}"/>
          </ac:spMkLst>
        </pc:spChg>
        <pc:spChg chg="add mod">
          <ac:chgData name="Rajat Taneja" userId="4ec436a0-470b-456a-af42-a15c99f1cebd" providerId="ADAL" clId="{3CFFE7A2-FFBC-49D3-B012-6FC1B0757796}" dt="2022-04-04T01:16:15.365" v="1233" actId="1037"/>
          <ac:spMkLst>
            <pc:docMk/>
            <pc:sldMk cId="675763070" sldId="2147375113"/>
            <ac:spMk id="44" creationId="{5E239530-A4AF-4B80-953F-F41EC1D77413}"/>
          </ac:spMkLst>
        </pc:spChg>
        <pc:spChg chg="add mod">
          <ac:chgData name="Rajat Taneja" userId="4ec436a0-470b-456a-af42-a15c99f1cebd" providerId="ADAL" clId="{3CFFE7A2-FFBC-49D3-B012-6FC1B0757796}" dt="2022-04-04T01:16:15.365" v="1233" actId="1037"/>
          <ac:spMkLst>
            <pc:docMk/>
            <pc:sldMk cId="675763070" sldId="2147375113"/>
            <ac:spMk id="46" creationId="{B01ED8BE-B7B4-4FE5-BD89-EAA1DDF03D5F}"/>
          </ac:spMkLst>
        </pc:spChg>
        <pc:spChg chg="add mod">
          <ac:chgData name="Rajat Taneja" userId="4ec436a0-470b-456a-af42-a15c99f1cebd" providerId="ADAL" clId="{3CFFE7A2-FFBC-49D3-B012-6FC1B0757796}" dt="2022-04-04T01:16:15.365" v="1233" actId="1037"/>
          <ac:spMkLst>
            <pc:docMk/>
            <pc:sldMk cId="675763070" sldId="2147375113"/>
            <ac:spMk id="47" creationId="{6AEE101C-80F4-4902-88B5-115F26A974EA}"/>
          </ac:spMkLst>
        </pc:spChg>
        <pc:spChg chg="add mod">
          <ac:chgData name="Rajat Taneja" userId="4ec436a0-470b-456a-af42-a15c99f1cebd" providerId="ADAL" clId="{3CFFE7A2-FFBC-49D3-B012-6FC1B0757796}" dt="2022-04-04T01:16:15.365" v="1233" actId="1037"/>
          <ac:spMkLst>
            <pc:docMk/>
            <pc:sldMk cId="675763070" sldId="2147375113"/>
            <ac:spMk id="48" creationId="{E162F6FF-BE55-4759-8B49-C8F64B717BD8}"/>
          </ac:spMkLst>
        </pc:spChg>
        <pc:spChg chg="add mod">
          <ac:chgData name="Rajat Taneja" userId="4ec436a0-470b-456a-af42-a15c99f1cebd" providerId="ADAL" clId="{3CFFE7A2-FFBC-49D3-B012-6FC1B0757796}" dt="2022-04-04T01:16:15.365" v="1233" actId="1037"/>
          <ac:spMkLst>
            <pc:docMk/>
            <pc:sldMk cId="675763070" sldId="2147375113"/>
            <ac:spMk id="49" creationId="{2603112E-931D-41AD-97DF-528BCD050147}"/>
          </ac:spMkLst>
        </pc:spChg>
        <pc:spChg chg="add mod">
          <ac:chgData name="Rajat Taneja" userId="4ec436a0-470b-456a-af42-a15c99f1cebd" providerId="ADAL" clId="{3CFFE7A2-FFBC-49D3-B012-6FC1B0757796}" dt="2022-04-04T01:16:15.365" v="1233" actId="1037"/>
          <ac:spMkLst>
            <pc:docMk/>
            <pc:sldMk cId="675763070" sldId="2147375113"/>
            <ac:spMk id="50" creationId="{2B7C9CC5-813C-484E-95BD-93D0CDC76355}"/>
          </ac:spMkLst>
        </pc:spChg>
        <pc:spChg chg="add mod">
          <ac:chgData name="Rajat Taneja" userId="4ec436a0-470b-456a-af42-a15c99f1cebd" providerId="ADAL" clId="{3CFFE7A2-FFBC-49D3-B012-6FC1B0757796}" dt="2022-04-04T01:16:15.365" v="1233" actId="1037"/>
          <ac:spMkLst>
            <pc:docMk/>
            <pc:sldMk cId="675763070" sldId="2147375113"/>
            <ac:spMk id="52" creationId="{7FA23A94-2DBC-4299-A3E8-92E38500EDA6}"/>
          </ac:spMkLst>
        </pc:spChg>
        <pc:spChg chg="add mod">
          <ac:chgData name="Rajat Taneja" userId="4ec436a0-470b-456a-af42-a15c99f1cebd" providerId="ADAL" clId="{3CFFE7A2-FFBC-49D3-B012-6FC1B0757796}" dt="2022-04-04T01:16:15.365" v="1233" actId="1037"/>
          <ac:spMkLst>
            <pc:docMk/>
            <pc:sldMk cId="675763070" sldId="2147375113"/>
            <ac:spMk id="53" creationId="{7A1A5F4D-2CE8-4309-8126-526415794D84}"/>
          </ac:spMkLst>
        </pc:spChg>
        <pc:spChg chg="add mod">
          <ac:chgData name="Rajat Taneja" userId="4ec436a0-470b-456a-af42-a15c99f1cebd" providerId="ADAL" clId="{3CFFE7A2-FFBC-49D3-B012-6FC1B0757796}" dt="2022-04-04T01:16:15.365" v="1233" actId="1037"/>
          <ac:spMkLst>
            <pc:docMk/>
            <pc:sldMk cId="675763070" sldId="2147375113"/>
            <ac:spMk id="54" creationId="{1449305E-484D-45F3-9E45-CDE21E4D02DC}"/>
          </ac:spMkLst>
        </pc:spChg>
        <pc:spChg chg="add mod">
          <ac:chgData name="Rajat Taneja" userId="4ec436a0-470b-456a-af42-a15c99f1cebd" providerId="ADAL" clId="{3CFFE7A2-FFBC-49D3-B012-6FC1B0757796}" dt="2022-04-04T01:16:15.365" v="1233" actId="1037"/>
          <ac:spMkLst>
            <pc:docMk/>
            <pc:sldMk cId="675763070" sldId="2147375113"/>
            <ac:spMk id="55" creationId="{46B1F2B9-0485-4669-9AD2-924B87ABABF4}"/>
          </ac:spMkLst>
        </pc:spChg>
        <pc:spChg chg="mod">
          <ac:chgData name="Rajat Taneja" userId="4ec436a0-470b-456a-af42-a15c99f1cebd" providerId="ADAL" clId="{3CFFE7A2-FFBC-49D3-B012-6FC1B0757796}" dt="2022-04-04T01:14:20.422" v="1045" actId="1076"/>
          <ac:spMkLst>
            <pc:docMk/>
            <pc:sldMk cId="675763070" sldId="2147375113"/>
            <ac:spMk id="56" creationId="{7F6A36EF-E1D2-4B57-A629-3288E30E312C}"/>
          </ac:spMkLst>
        </pc:spChg>
        <pc:spChg chg="mod">
          <ac:chgData name="Rajat Taneja" userId="4ec436a0-470b-456a-af42-a15c99f1cebd" providerId="ADAL" clId="{3CFFE7A2-FFBC-49D3-B012-6FC1B0757796}" dt="2022-04-04T01:15:10.764" v="1097" actId="14100"/>
          <ac:spMkLst>
            <pc:docMk/>
            <pc:sldMk cId="675763070" sldId="2147375113"/>
            <ac:spMk id="57" creationId="{A6C8165C-17F0-458D-A759-395C8849C98A}"/>
          </ac:spMkLst>
        </pc:spChg>
        <pc:spChg chg="mod">
          <ac:chgData name="Rajat Taneja" userId="4ec436a0-470b-456a-af42-a15c99f1cebd" providerId="ADAL" clId="{3CFFE7A2-FFBC-49D3-B012-6FC1B0757796}" dt="2022-04-04T01:15:33.699" v="1101" actId="164"/>
          <ac:spMkLst>
            <pc:docMk/>
            <pc:sldMk cId="675763070" sldId="2147375113"/>
            <ac:spMk id="58" creationId="{9025D887-A320-4682-9706-B9A931910AFC}"/>
          </ac:spMkLst>
        </pc:spChg>
        <pc:spChg chg="add mod">
          <ac:chgData name="Rajat Taneja" userId="4ec436a0-470b-456a-af42-a15c99f1cebd" providerId="ADAL" clId="{3CFFE7A2-FFBC-49D3-B012-6FC1B0757796}" dt="2022-04-04T01:16:15.365" v="1233" actId="1037"/>
          <ac:spMkLst>
            <pc:docMk/>
            <pc:sldMk cId="675763070" sldId="2147375113"/>
            <ac:spMk id="59" creationId="{C8A982E2-7E76-4D10-854B-9A7EFBF6EF92}"/>
          </ac:spMkLst>
        </pc:spChg>
        <pc:spChg chg="add mod">
          <ac:chgData name="Rajat Taneja" userId="4ec436a0-470b-456a-af42-a15c99f1cebd" providerId="ADAL" clId="{3CFFE7A2-FFBC-49D3-B012-6FC1B0757796}" dt="2022-04-04T01:16:15.365" v="1233" actId="1037"/>
          <ac:spMkLst>
            <pc:docMk/>
            <pc:sldMk cId="675763070" sldId="2147375113"/>
            <ac:spMk id="61" creationId="{74BDE951-D0FB-4853-A7B4-BBB212B0247D}"/>
          </ac:spMkLst>
        </pc:spChg>
        <pc:spChg chg="mod">
          <ac:chgData name="Rajat Taneja" userId="4ec436a0-470b-456a-af42-a15c99f1cebd" providerId="ADAL" clId="{3CFFE7A2-FFBC-49D3-B012-6FC1B0757796}" dt="2022-04-04T01:15:39.111" v="1102" actId="164"/>
          <ac:spMkLst>
            <pc:docMk/>
            <pc:sldMk cId="675763070" sldId="2147375113"/>
            <ac:spMk id="63" creationId="{3A433B3A-21EF-4DF1-B216-6DF874F51CBC}"/>
          </ac:spMkLst>
        </pc:spChg>
        <pc:spChg chg="mod">
          <ac:chgData name="Rajat Taneja" userId="4ec436a0-470b-456a-af42-a15c99f1cebd" providerId="ADAL" clId="{3CFFE7A2-FFBC-49D3-B012-6FC1B0757796}" dt="2022-04-04T01:15:22.292" v="1100" actId="14100"/>
          <ac:spMkLst>
            <pc:docMk/>
            <pc:sldMk cId="675763070" sldId="2147375113"/>
            <ac:spMk id="64" creationId="{2FDC8FEF-DE82-4BC1-BAB8-E18FEBFBB067}"/>
          </ac:spMkLst>
        </pc:spChg>
        <pc:spChg chg="mod">
          <ac:chgData name="Rajat Taneja" userId="4ec436a0-470b-456a-af42-a15c99f1cebd" providerId="ADAL" clId="{3CFFE7A2-FFBC-49D3-B012-6FC1B0757796}" dt="2022-04-04T01:14:30.377" v="1046"/>
          <ac:spMkLst>
            <pc:docMk/>
            <pc:sldMk cId="675763070" sldId="2147375113"/>
            <ac:spMk id="66" creationId="{7872A649-3288-4451-AEBA-F35BD9662846}"/>
          </ac:spMkLst>
        </pc:spChg>
        <pc:spChg chg="mod">
          <ac:chgData name="Rajat Taneja" userId="4ec436a0-470b-456a-af42-a15c99f1cebd" providerId="ADAL" clId="{3CFFE7A2-FFBC-49D3-B012-6FC1B0757796}" dt="2022-04-04T01:15:33.699" v="1101" actId="164"/>
          <ac:spMkLst>
            <pc:docMk/>
            <pc:sldMk cId="675763070" sldId="2147375113"/>
            <ac:spMk id="69" creationId="{E1C70F0C-BD89-4D2D-851C-48AFDA2F6BD0}"/>
          </ac:spMkLst>
        </pc:spChg>
        <pc:spChg chg="mod">
          <ac:chgData name="Rajat Taneja" userId="4ec436a0-470b-456a-af42-a15c99f1cebd" providerId="ADAL" clId="{3CFFE7A2-FFBC-49D3-B012-6FC1B0757796}" dt="2022-04-04T01:15:39.111" v="1102" actId="164"/>
          <ac:spMkLst>
            <pc:docMk/>
            <pc:sldMk cId="675763070" sldId="2147375113"/>
            <ac:spMk id="70" creationId="{BEFC8180-D2DC-44AF-AA82-E12C001CD103}"/>
          </ac:spMkLst>
        </pc:spChg>
        <pc:spChg chg="add mod">
          <ac:chgData name="Rajat Taneja" userId="4ec436a0-470b-456a-af42-a15c99f1cebd" providerId="ADAL" clId="{3CFFE7A2-FFBC-49D3-B012-6FC1B0757796}" dt="2022-04-04T01:16:15.365" v="1233" actId="1037"/>
          <ac:spMkLst>
            <pc:docMk/>
            <pc:sldMk cId="675763070" sldId="2147375113"/>
            <ac:spMk id="82" creationId="{80C05CFF-E309-46CC-A031-6ABA27849144}"/>
          </ac:spMkLst>
        </pc:spChg>
        <pc:spChg chg="add mod">
          <ac:chgData name="Rajat Taneja" userId="4ec436a0-470b-456a-af42-a15c99f1cebd" providerId="ADAL" clId="{3CFFE7A2-FFBC-49D3-B012-6FC1B0757796}" dt="2022-04-04T01:16:15.365" v="1233" actId="1037"/>
          <ac:spMkLst>
            <pc:docMk/>
            <pc:sldMk cId="675763070" sldId="2147375113"/>
            <ac:spMk id="110" creationId="{0B600309-3929-4E6D-962F-14167FBB9C3D}"/>
          </ac:spMkLst>
        </pc:spChg>
        <pc:spChg chg="add mod">
          <ac:chgData name="Rajat Taneja" userId="4ec436a0-470b-456a-af42-a15c99f1cebd" providerId="ADAL" clId="{3CFFE7A2-FFBC-49D3-B012-6FC1B0757796}" dt="2022-04-04T01:16:15.365" v="1233" actId="1037"/>
          <ac:spMkLst>
            <pc:docMk/>
            <pc:sldMk cId="675763070" sldId="2147375113"/>
            <ac:spMk id="121" creationId="{DABFCC2F-2FB4-458D-A2BE-A155E21D24A9}"/>
          </ac:spMkLst>
        </pc:spChg>
        <pc:spChg chg="add mod">
          <ac:chgData name="Rajat Taneja" userId="4ec436a0-470b-456a-af42-a15c99f1cebd" providerId="ADAL" clId="{3CFFE7A2-FFBC-49D3-B012-6FC1B0757796}" dt="2022-04-04T01:16:15.365" v="1233" actId="1037"/>
          <ac:spMkLst>
            <pc:docMk/>
            <pc:sldMk cId="675763070" sldId="2147375113"/>
            <ac:spMk id="122" creationId="{A364C137-813F-4D21-9616-C3033CF7EBA1}"/>
          </ac:spMkLst>
        </pc:spChg>
        <pc:spChg chg="add mod">
          <ac:chgData name="Rajat Taneja" userId="4ec436a0-470b-456a-af42-a15c99f1cebd" providerId="ADAL" clId="{3CFFE7A2-FFBC-49D3-B012-6FC1B0757796}" dt="2022-04-04T01:16:15.365" v="1233" actId="1037"/>
          <ac:spMkLst>
            <pc:docMk/>
            <pc:sldMk cId="675763070" sldId="2147375113"/>
            <ac:spMk id="123" creationId="{0046689F-918E-473E-9891-85E51FCAC239}"/>
          </ac:spMkLst>
        </pc:spChg>
        <pc:spChg chg="add mod">
          <ac:chgData name="Rajat Taneja" userId="4ec436a0-470b-456a-af42-a15c99f1cebd" providerId="ADAL" clId="{3CFFE7A2-FFBC-49D3-B012-6FC1B0757796}" dt="2022-04-04T01:16:15.365" v="1233" actId="1037"/>
          <ac:spMkLst>
            <pc:docMk/>
            <pc:sldMk cId="675763070" sldId="2147375113"/>
            <ac:spMk id="124" creationId="{FCC5E184-D282-43E8-A246-8F5EC23C8CE1}"/>
          </ac:spMkLst>
        </pc:spChg>
        <pc:spChg chg="add mod">
          <ac:chgData name="Rajat Taneja" userId="4ec436a0-470b-456a-af42-a15c99f1cebd" providerId="ADAL" clId="{3CFFE7A2-FFBC-49D3-B012-6FC1B0757796}" dt="2022-04-04T01:16:15.365" v="1233" actId="1037"/>
          <ac:spMkLst>
            <pc:docMk/>
            <pc:sldMk cId="675763070" sldId="2147375113"/>
            <ac:spMk id="125" creationId="{A676171D-5467-45AC-A264-BDFDDF398D63}"/>
          </ac:spMkLst>
        </pc:spChg>
        <pc:spChg chg="add mod">
          <ac:chgData name="Rajat Taneja" userId="4ec436a0-470b-456a-af42-a15c99f1cebd" providerId="ADAL" clId="{3CFFE7A2-FFBC-49D3-B012-6FC1B0757796}" dt="2022-04-04T01:16:15.365" v="1233" actId="1037"/>
          <ac:spMkLst>
            <pc:docMk/>
            <pc:sldMk cId="675763070" sldId="2147375113"/>
            <ac:spMk id="161" creationId="{291AB779-2D7A-4BDF-B2DA-8AA8860D6F60}"/>
          </ac:spMkLst>
        </pc:spChg>
        <pc:spChg chg="add mod">
          <ac:chgData name="Rajat Taneja" userId="4ec436a0-470b-456a-af42-a15c99f1cebd" providerId="ADAL" clId="{3CFFE7A2-FFBC-49D3-B012-6FC1B0757796}" dt="2022-04-04T01:16:15.365" v="1233" actId="1037"/>
          <ac:spMkLst>
            <pc:docMk/>
            <pc:sldMk cId="675763070" sldId="2147375113"/>
            <ac:spMk id="162" creationId="{2B117151-E142-4B21-BE30-1872761857B5}"/>
          </ac:spMkLst>
        </pc:spChg>
        <pc:spChg chg="add mod">
          <ac:chgData name="Rajat Taneja" userId="4ec436a0-470b-456a-af42-a15c99f1cebd" providerId="ADAL" clId="{3CFFE7A2-FFBC-49D3-B012-6FC1B0757796}" dt="2022-04-04T01:16:15.365" v="1233" actId="1037"/>
          <ac:spMkLst>
            <pc:docMk/>
            <pc:sldMk cId="675763070" sldId="2147375113"/>
            <ac:spMk id="164" creationId="{0787BC4A-E7B1-4949-8E59-1FFD24173C0D}"/>
          </ac:spMkLst>
        </pc:spChg>
        <pc:spChg chg="mod">
          <ac:chgData name="Rajat Taneja" userId="4ec436a0-470b-456a-af42-a15c99f1cebd" providerId="ADAL" clId="{3CFFE7A2-FFBC-49D3-B012-6FC1B0757796}" dt="2022-04-04T01:14:30.377" v="1046"/>
          <ac:spMkLst>
            <pc:docMk/>
            <pc:sldMk cId="675763070" sldId="2147375113"/>
            <ac:spMk id="167" creationId="{1C0A4061-8504-41BA-80EE-FFE592EE594E}"/>
          </ac:spMkLst>
        </pc:spChg>
        <pc:spChg chg="mod">
          <ac:chgData name="Rajat Taneja" userId="4ec436a0-470b-456a-af42-a15c99f1cebd" providerId="ADAL" clId="{3CFFE7A2-FFBC-49D3-B012-6FC1B0757796}" dt="2022-04-04T01:14:30.377" v="1046"/>
          <ac:spMkLst>
            <pc:docMk/>
            <pc:sldMk cId="675763070" sldId="2147375113"/>
            <ac:spMk id="168" creationId="{25068CBB-7823-45E3-BFA1-60BB7B4B3E60}"/>
          </ac:spMkLst>
        </pc:spChg>
        <pc:spChg chg="mod">
          <ac:chgData name="Rajat Taneja" userId="4ec436a0-470b-456a-af42-a15c99f1cebd" providerId="ADAL" clId="{3CFFE7A2-FFBC-49D3-B012-6FC1B0757796}" dt="2022-04-04T01:14:30.377" v="1046"/>
          <ac:spMkLst>
            <pc:docMk/>
            <pc:sldMk cId="675763070" sldId="2147375113"/>
            <ac:spMk id="170" creationId="{3D8276A3-BABA-418D-A563-66AAE3127EB6}"/>
          </ac:spMkLst>
        </pc:spChg>
        <pc:spChg chg="add mod">
          <ac:chgData name="Rajat Taneja" userId="4ec436a0-470b-456a-af42-a15c99f1cebd" providerId="ADAL" clId="{3CFFE7A2-FFBC-49D3-B012-6FC1B0757796}" dt="2022-04-04T01:16:15.365" v="1233" actId="1037"/>
          <ac:spMkLst>
            <pc:docMk/>
            <pc:sldMk cId="675763070" sldId="2147375113"/>
            <ac:spMk id="171" creationId="{552F690A-0BC2-419E-84B7-7AADF8BE1945}"/>
          </ac:spMkLst>
        </pc:spChg>
        <pc:spChg chg="add mod">
          <ac:chgData name="Rajat Taneja" userId="4ec436a0-470b-456a-af42-a15c99f1cebd" providerId="ADAL" clId="{3CFFE7A2-FFBC-49D3-B012-6FC1B0757796}" dt="2022-04-04T01:16:15.365" v="1233" actId="1037"/>
          <ac:spMkLst>
            <pc:docMk/>
            <pc:sldMk cId="675763070" sldId="2147375113"/>
            <ac:spMk id="173" creationId="{0305633B-1329-4036-8F12-85C38DA68343}"/>
          </ac:spMkLst>
        </pc:spChg>
        <pc:spChg chg="del">
          <ac:chgData name="Rajat Taneja" userId="4ec436a0-470b-456a-af42-a15c99f1cebd" providerId="ADAL" clId="{3CFFE7A2-FFBC-49D3-B012-6FC1B0757796}" dt="2022-04-04T01:14:09.869" v="1044" actId="478"/>
          <ac:spMkLst>
            <pc:docMk/>
            <pc:sldMk cId="675763070" sldId="2147375113"/>
            <ac:spMk id="246" creationId="{642F3D76-A718-491B-ACB6-98B5DFE92E63}"/>
          </ac:spMkLst>
        </pc:spChg>
        <pc:spChg chg="del">
          <ac:chgData name="Rajat Taneja" userId="4ec436a0-470b-456a-af42-a15c99f1cebd" providerId="ADAL" clId="{3CFFE7A2-FFBC-49D3-B012-6FC1B0757796}" dt="2022-04-04T01:14:09.869" v="1044" actId="478"/>
          <ac:spMkLst>
            <pc:docMk/>
            <pc:sldMk cId="675763070" sldId="2147375113"/>
            <ac:spMk id="247" creationId="{C90BE00B-2E7D-4DF7-BCDB-6F98B65D3AAB}"/>
          </ac:spMkLst>
        </pc:spChg>
        <pc:spChg chg="mod">
          <ac:chgData name="Rajat Taneja" userId="4ec436a0-470b-456a-af42-a15c99f1cebd" providerId="ADAL" clId="{3CFFE7A2-FFBC-49D3-B012-6FC1B0757796}" dt="2022-04-04T01:14:45.541" v="1079" actId="14100"/>
          <ac:spMkLst>
            <pc:docMk/>
            <pc:sldMk cId="675763070" sldId="2147375113"/>
            <ac:spMk id="253" creationId="{2A110564-F8AE-43B2-A913-F93A16C6A693}"/>
          </ac:spMkLst>
        </pc:spChg>
        <pc:spChg chg="mod">
          <ac:chgData name="Rajat Taneja" userId="4ec436a0-470b-456a-af42-a15c99f1cebd" providerId="ADAL" clId="{3CFFE7A2-FFBC-49D3-B012-6FC1B0757796}" dt="2022-04-04T01:14:50.577" v="1080" actId="14100"/>
          <ac:spMkLst>
            <pc:docMk/>
            <pc:sldMk cId="675763070" sldId="2147375113"/>
            <ac:spMk id="254" creationId="{55400139-9AF1-4EE6-935F-7A0CE2E953C7}"/>
          </ac:spMkLst>
        </pc:spChg>
        <pc:grpChg chg="add mod">
          <ac:chgData name="Rajat Taneja" userId="4ec436a0-470b-456a-af42-a15c99f1cebd" providerId="ADAL" clId="{3CFFE7A2-FFBC-49D3-B012-6FC1B0757796}" dt="2022-04-04T01:16:00.019" v="1147" actId="1035"/>
          <ac:grpSpMkLst>
            <pc:docMk/>
            <pc:sldMk cId="675763070" sldId="2147375113"/>
            <ac:grpSpMk id="5" creationId="{87285A7C-F59F-4AC3-A4F5-3055D9DF2153}"/>
          </ac:grpSpMkLst>
        </pc:grpChg>
        <pc:grpChg chg="mod">
          <ac:chgData name="Rajat Taneja" userId="4ec436a0-470b-456a-af42-a15c99f1cebd" providerId="ADAL" clId="{3CFFE7A2-FFBC-49D3-B012-6FC1B0757796}" dt="2022-04-04T01:15:33.699" v="1101" actId="164"/>
          <ac:grpSpMkLst>
            <pc:docMk/>
            <pc:sldMk cId="675763070" sldId="2147375113"/>
            <ac:grpSpMk id="12" creationId="{13E2543A-0246-4395-98B4-6011057F0550}"/>
          </ac:grpSpMkLst>
        </pc:grpChg>
        <pc:grpChg chg="mod">
          <ac:chgData name="Rajat Taneja" userId="4ec436a0-470b-456a-af42-a15c99f1cebd" providerId="ADAL" clId="{3CFFE7A2-FFBC-49D3-B012-6FC1B0757796}" dt="2022-04-04T01:15:45.244" v="1122" actId="1036"/>
          <ac:grpSpMkLst>
            <pc:docMk/>
            <pc:sldMk cId="675763070" sldId="2147375113"/>
            <ac:grpSpMk id="13" creationId="{B3B23A57-0B51-4E20-A33B-2C38DCDDEF68}"/>
          </ac:grpSpMkLst>
        </pc:grpChg>
        <pc:grpChg chg="add mod">
          <ac:chgData name="Rajat Taneja" userId="4ec436a0-470b-456a-af42-a15c99f1cebd" providerId="ADAL" clId="{3CFFE7A2-FFBC-49D3-B012-6FC1B0757796}" dt="2022-04-04T01:15:55.030" v="1140" actId="1035"/>
          <ac:grpSpMkLst>
            <pc:docMk/>
            <pc:sldMk cId="675763070" sldId="2147375113"/>
            <ac:grpSpMk id="14" creationId="{D8EBF3C7-95BE-41E2-ACCE-0CD9712770B9}"/>
          </ac:grpSpMkLst>
        </pc:grpChg>
        <pc:grpChg chg="add mod">
          <ac:chgData name="Rajat Taneja" userId="4ec436a0-470b-456a-af42-a15c99f1cebd" providerId="ADAL" clId="{3CFFE7A2-FFBC-49D3-B012-6FC1B0757796}" dt="2022-04-04T01:16:15.365" v="1233" actId="1037"/>
          <ac:grpSpMkLst>
            <pc:docMk/>
            <pc:sldMk cId="675763070" sldId="2147375113"/>
            <ac:grpSpMk id="62" creationId="{1E8624CE-E2AE-4626-B41A-126E0CAF7EFA}"/>
          </ac:grpSpMkLst>
        </pc:grpChg>
        <pc:grpChg chg="mod">
          <ac:chgData name="Rajat Taneja" userId="4ec436a0-470b-456a-af42-a15c99f1cebd" providerId="ADAL" clId="{3CFFE7A2-FFBC-49D3-B012-6FC1B0757796}" dt="2022-04-04T01:14:30.377" v="1046"/>
          <ac:grpSpMkLst>
            <pc:docMk/>
            <pc:sldMk cId="675763070" sldId="2147375113"/>
            <ac:grpSpMk id="72" creationId="{950449B5-4412-4264-BF24-443AD858FE07}"/>
          </ac:grpSpMkLst>
        </pc:grpChg>
        <pc:grpChg chg="mod">
          <ac:chgData name="Rajat Taneja" userId="4ec436a0-470b-456a-af42-a15c99f1cebd" providerId="ADAL" clId="{3CFFE7A2-FFBC-49D3-B012-6FC1B0757796}" dt="2022-04-04T01:14:30.377" v="1046"/>
          <ac:grpSpMkLst>
            <pc:docMk/>
            <pc:sldMk cId="675763070" sldId="2147375113"/>
            <ac:grpSpMk id="73" creationId="{7B160ECB-E89B-415F-9101-859F92348C3B}"/>
          </ac:grpSpMkLst>
        </pc:grpChg>
        <pc:grpChg chg="add mod">
          <ac:chgData name="Rajat Taneja" userId="4ec436a0-470b-456a-af42-a15c99f1cebd" providerId="ADAL" clId="{3CFFE7A2-FFBC-49D3-B012-6FC1B0757796}" dt="2022-04-04T01:16:15.365" v="1233" actId="1037"/>
          <ac:grpSpMkLst>
            <pc:docMk/>
            <pc:sldMk cId="675763070" sldId="2147375113"/>
            <ac:grpSpMk id="83" creationId="{73A23CA4-641C-4283-99CD-55A3A9789F00}"/>
          </ac:grpSpMkLst>
        </pc:grpChg>
        <pc:grpChg chg="add mod">
          <ac:chgData name="Rajat Taneja" userId="4ec436a0-470b-456a-af42-a15c99f1cebd" providerId="ADAL" clId="{3CFFE7A2-FFBC-49D3-B012-6FC1B0757796}" dt="2022-04-04T01:16:15.365" v="1233" actId="1037"/>
          <ac:grpSpMkLst>
            <pc:docMk/>
            <pc:sldMk cId="675763070" sldId="2147375113"/>
            <ac:grpSpMk id="88" creationId="{403D2A02-980D-4ED5-A033-486C0AA3B5AE}"/>
          </ac:grpSpMkLst>
        </pc:grpChg>
        <pc:grpChg chg="add mod">
          <ac:chgData name="Rajat Taneja" userId="4ec436a0-470b-456a-af42-a15c99f1cebd" providerId="ADAL" clId="{3CFFE7A2-FFBC-49D3-B012-6FC1B0757796}" dt="2022-04-04T01:16:15.365" v="1233" actId="1037"/>
          <ac:grpSpMkLst>
            <pc:docMk/>
            <pc:sldMk cId="675763070" sldId="2147375113"/>
            <ac:grpSpMk id="93" creationId="{BD693A51-0A98-47F3-B82F-CB56C4AB7496}"/>
          </ac:grpSpMkLst>
        </pc:grpChg>
        <pc:grpChg chg="mod">
          <ac:chgData name="Rajat Taneja" userId="4ec436a0-470b-456a-af42-a15c99f1cebd" providerId="ADAL" clId="{3CFFE7A2-FFBC-49D3-B012-6FC1B0757796}" dt="2022-04-04T01:14:30.377" v="1046"/>
          <ac:grpSpMkLst>
            <pc:docMk/>
            <pc:sldMk cId="675763070" sldId="2147375113"/>
            <ac:grpSpMk id="94" creationId="{AEFB1C20-6AE6-4BDC-92EA-27C0B603CD68}"/>
          </ac:grpSpMkLst>
        </pc:grpChg>
        <pc:grpChg chg="mod">
          <ac:chgData name="Rajat Taneja" userId="4ec436a0-470b-456a-af42-a15c99f1cebd" providerId="ADAL" clId="{3CFFE7A2-FFBC-49D3-B012-6FC1B0757796}" dt="2022-04-04T01:14:30.377" v="1046"/>
          <ac:grpSpMkLst>
            <pc:docMk/>
            <pc:sldMk cId="675763070" sldId="2147375113"/>
            <ac:grpSpMk id="95" creationId="{07C742BE-FCED-4B93-B358-DC4BE0FDCE29}"/>
          </ac:grpSpMkLst>
        </pc:grpChg>
        <pc:grpChg chg="mod">
          <ac:chgData name="Rajat Taneja" userId="4ec436a0-470b-456a-af42-a15c99f1cebd" providerId="ADAL" clId="{3CFFE7A2-FFBC-49D3-B012-6FC1B0757796}" dt="2022-04-04T01:14:30.377" v="1046"/>
          <ac:grpSpMkLst>
            <pc:docMk/>
            <pc:sldMk cId="675763070" sldId="2147375113"/>
            <ac:grpSpMk id="97" creationId="{73B1B958-CF15-492E-88D5-52E5836C5B33}"/>
          </ac:grpSpMkLst>
        </pc:grpChg>
        <pc:grpChg chg="add mod">
          <ac:chgData name="Rajat Taneja" userId="4ec436a0-470b-456a-af42-a15c99f1cebd" providerId="ADAL" clId="{3CFFE7A2-FFBC-49D3-B012-6FC1B0757796}" dt="2022-04-04T01:16:15.365" v="1233" actId="1037"/>
          <ac:grpSpMkLst>
            <pc:docMk/>
            <pc:sldMk cId="675763070" sldId="2147375113"/>
            <ac:grpSpMk id="111" creationId="{F43A6513-6FA4-4528-A01E-415ACA15EF78}"/>
          </ac:grpSpMkLst>
        </pc:grpChg>
        <pc:grpChg chg="add mod">
          <ac:chgData name="Rajat Taneja" userId="4ec436a0-470b-456a-af42-a15c99f1cebd" providerId="ADAL" clId="{3CFFE7A2-FFBC-49D3-B012-6FC1B0757796}" dt="2022-04-04T01:16:15.365" v="1233" actId="1037"/>
          <ac:grpSpMkLst>
            <pc:docMk/>
            <pc:sldMk cId="675763070" sldId="2147375113"/>
            <ac:grpSpMk id="116" creationId="{2A081724-77B2-4906-8795-46D80C13B725}"/>
          </ac:grpSpMkLst>
        </pc:grpChg>
        <pc:grpChg chg="add mod">
          <ac:chgData name="Rajat Taneja" userId="4ec436a0-470b-456a-af42-a15c99f1cebd" providerId="ADAL" clId="{3CFFE7A2-FFBC-49D3-B012-6FC1B0757796}" dt="2022-04-04T01:16:15.365" v="1233" actId="1037"/>
          <ac:grpSpMkLst>
            <pc:docMk/>
            <pc:sldMk cId="675763070" sldId="2147375113"/>
            <ac:grpSpMk id="126" creationId="{C2AB2C29-F67B-4CB9-BFD4-6D20494084AE}"/>
          </ac:grpSpMkLst>
        </pc:grpChg>
        <pc:grpChg chg="mod">
          <ac:chgData name="Rajat Taneja" userId="4ec436a0-470b-456a-af42-a15c99f1cebd" providerId="ADAL" clId="{3CFFE7A2-FFBC-49D3-B012-6FC1B0757796}" dt="2022-04-04T01:14:30.377" v="1046"/>
          <ac:grpSpMkLst>
            <pc:docMk/>
            <pc:sldMk cId="675763070" sldId="2147375113"/>
            <ac:grpSpMk id="127" creationId="{014CB0F4-C742-4A5A-9E52-24E11A57173F}"/>
          </ac:grpSpMkLst>
        </pc:grpChg>
        <pc:grpChg chg="mod">
          <ac:chgData name="Rajat Taneja" userId="4ec436a0-470b-456a-af42-a15c99f1cebd" providerId="ADAL" clId="{3CFFE7A2-FFBC-49D3-B012-6FC1B0757796}" dt="2022-04-04T01:14:30.377" v="1046"/>
          <ac:grpSpMkLst>
            <pc:docMk/>
            <pc:sldMk cId="675763070" sldId="2147375113"/>
            <ac:grpSpMk id="128" creationId="{D866B6F7-9EA4-4198-89A0-2B005EF57AF1}"/>
          </ac:grpSpMkLst>
        </pc:grpChg>
        <pc:grpChg chg="mod">
          <ac:chgData name="Rajat Taneja" userId="4ec436a0-470b-456a-af42-a15c99f1cebd" providerId="ADAL" clId="{3CFFE7A2-FFBC-49D3-B012-6FC1B0757796}" dt="2022-04-04T01:14:30.377" v="1046"/>
          <ac:grpSpMkLst>
            <pc:docMk/>
            <pc:sldMk cId="675763070" sldId="2147375113"/>
            <ac:grpSpMk id="130" creationId="{D10A3E47-3026-41F7-8E23-4C2FF16BC5E7}"/>
          </ac:grpSpMkLst>
        </pc:grpChg>
        <pc:grpChg chg="add mod">
          <ac:chgData name="Rajat Taneja" userId="4ec436a0-470b-456a-af42-a15c99f1cebd" providerId="ADAL" clId="{3CFFE7A2-FFBC-49D3-B012-6FC1B0757796}" dt="2022-04-04T01:16:15.365" v="1233" actId="1037"/>
          <ac:grpSpMkLst>
            <pc:docMk/>
            <pc:sldMk cId="675763070" sldId="2147375113"/>
            <ac:grpSpMk id="143" creationId="{A7283A1E-3503-48FC-837F-29586316EC36}"/>
          </ac:grpSpMkLst>
        </pc:grpChg>
        <pc:grpChg chg="mod">
          <ac:chgData name="Rajat Taneja" userId="4ec436a0-470b-456a-af42-a15c99f1cebd" providerId="ADAL" clId="{3CFFE7A2-FFBC-49D3-B012-6FC1B0757796}" dt="2022-04-04T01:14:30.377" v="1046"/>
          <ac:grpSpMkLst>
            <pc:docMk/>
            <pc:sldMk cId="675763070" sldId="2147375113"/>
            <ac:grpSpMk id="144" creationId="{14CFBE5E-98B6-4525-92B2-74EA7451E8DD}"/>
          </ac:grpSpMkLst>
        </pc:grpChg>
        <pc:grpChg chg="mod">
          <ac:chgData name="Rajat Taneja" userId="4ec436a0-470b-456a-af42-a15c99f1cebd" providerId="ADAL" clId="{3CFFE7A2-FFBC-49D3-B012-6FC1B0757796}" dt="2022-04-04T01:14:30.377" v="1046"/>
          <ac:grpSpMkLst>
            <pc:docMk/>
            <pc:sldMk cId="675763070" sldId="2147375113"/>
            <ac:grpSpMk id="145" creationId="{310EC5F6-9DBD-4878-8321-CE7A0D79ED8B}"/>
          </ac:grpSpMkLst>
        </pc:grpChg>
        <pc:grpChg chg="mod">
          <ac:chgData name="Rajat Taneja" userId="4ec436a0-470b-456a-af42-a15c99f1cebd" providerId="ADAL" clId="{3CFFE7A2-FFBC-49D3-B012-6FC1B0757796}" dt="2022-04-04T01:14:30.377" v="1046"/>
          <ac:grpSpMkLst>
            <pc:docMk/>
            <pc:sldMk cId="675763070" sldId="2147375113"/>
            <ac:grpSpMk id="147" creationId="{826C929A-DEB4-4548-82A9-317E60B03915}"/>
          </ac:grpSpMkLst>
        </pc:grpChg>
        <pc:grpChg chg="add mod">
          <ac:chgData name="Rajat Taneja" userId="4ec436a0-470b-456a-af42-a15c99f1cebd" providerId="ADAL" clId="{3CFFE7A2-FFBC-49D3-B012-6FC1B0757796}" dt="2022-04-04T01:16:15.365" v="1233" actId="1037"/>
          <ac:grpSpMkLst>
            <pc:docMk/>
            <pc:sldMk cId="675763070" sldId="2147375113"/>
            <ac:grpSpMk id="165" creationId="{74503417-0205-47EB-BD0B-83622A68E7CE}"/>
          </ac:grpSpMkLst>
        </pc:grpChg>
        <pc:picChg chg="add mod">
          <ac:chgData name="Rajat Taneja" userId="4ec436a0-470b-456a-af42-a15c99f1cebd" providerId="ADAL" clId="{3CFFE7A2-FFBC-49D3-B012-6FC1B0757796}" dt="2022-04-04T01:16:15.365" v="1233" actId="1037"/>
          <ac:picMkLst>
            <pc:docMk/>
            <pc:sldMk cId="675763070" sldId="2147375113"/>
            <ac:picMk id="33" creationId="{527008A6-A10B-4CAD-8293-51B85D733486}"/>
          </ac:picMkLst>
        </pc:picChg>
        <pc:picChg chg="add mod">
          <ac:chgData name="Rajat Taneja" userId="4ec436a0-470b-456a-af42-a15c99f1cebd" providerId="ADAL" clId="{3CFFE7A2-FFBC-49D3-B012-6FC1B0757796}" dt="2022-04-04T01:16:15.365" v="1233" actId="1037"/>
          <ac:picMkLst>
            <pc:docMk/>
            <pc:sldMk cId="675763070" sldId="2147375113"/>
            <ac:picMk id="39" creationId="{D418BBFC-00AB-4FC1-BA0F-FBDABCA9F72C}"/>
          </ac:picMkLst>
        </pc:picChg>
        <pc:picChg chg="add mod">
          <ac:chgData name="Rajat Taneja" userId="4ec436a0-470b-456a-af42-a15c99f1cebd" providerId="ADAL" clId="{3CFFE7A2-FFBC-49D3-B012-6FC1B0757796}" dt="2022-04-04T01:16:15.365" v="1233" actId="1037"/>
          <ac:picMkLst>
            <pc:docMk/>
            <pc:sldMk cId="675763070" sldId="2147375113"/>
            <ac:picMk id="45" creationId="{A4FBE3AC-B0E7-4550-BE0C-7F7EF0C616FD}"/>
          </ac:picMkLst>
        </pc:picChg>
        <pc:picChg chg="add mod">
          <ac:chgData name="Rajat Taneja" userId="4ec436a0-470b-456a-af42-a15c99f1cebd" providerId="ADAL" clId="{3CFFE7A2-FFBC-49D3-B012-6FC1B0757796}" dt="2022-04-04T01:16:15.365" v="1233" actId="1037"/>
          <ac:picMkLst>
            <pc:docMk/>
            <pc:sldMk cId="675763070" sldId="2147375113"/>
            <ac:picMk id="51" creationId="{3A7CC9C8-D5B5-4102-A246-DE367438A188}"/>
          </ac:picMkLst>
        </pc:picChg>
        <pc:picChg chg="add mod">
          <ac:chgData name="Rajat Taneja" userId="4ec436a0-470b-456a-af42-a15c99f1cebd" providerId="ADAL" clId="{3CFFE7A2-FFBC-49D3-B012-6FC1B0757796}" dt="2022-04-04T01:16:15.365" v="1233" actId="1037"/>
          <ac:picMkLst>
            <pc:docMk/>
            <pc:sldMk cId="675763070" sldId="2147375113"/>
            <ac:picMk id="60" creationId="{CD4E8AAE-E134-4895-BFDB-07DD79B36C6F}"/>
          </ac:picMkLst>
        </pc:picChg>
        <pc:picChg chg="mod">
          <ac:chgData name="Rajat Taneja" userId="4ec436a0-470b-456a-af42-a15c99f1cebd" providerId="ADAL" clId="{3CFFE7A2-FFBC-49D3-B012-6FC1B0757796}" dt="2022-04-04T01:15:39.111" v="1102" actId="164"/>
          <ac:picMkLst>
            <pc:docMk/>
            <pc:sldMk cId="675763070" sldId="2147375113"/>
            <ac:picMk id="71" creationId="{92F7092D-DDE0-430E-B70A-0CD54F7BACF6}"/>
          </ac:picMkLst>
        </pc:picChg>
        <pc:picChg chg="mod">
          <ac:chgData name="Rajat Taneja" userId="4ec436a0-470b-456a-af42-a15c99f1cebd" providerId="ADAL" clId="{3CFFE7A2-FFBC-49D3-B012-6FC1B0757796}" dt="2022-04-04T01:14:30.377" v="1046"/>
          <ac:picMkLst>
            <pc:docMk/>
            <pc:sldMk cId="675763070" sldId="2147375113"/>
            <ac:picMk id="74" creationId="{66811861-DE7A-403C-A4A2-E90BFB30970C}"/>
          </ac:picMkLst>
        </pc:picChg>
        <pc:picChg chg="mod">
          <ac:chgData name="Rajat Taneja" userId="4ec436a0-470b-456a-af42-a15c99f1cebd" providerId="ADAL" clId="{3CFFE7A2-FFBC-49D3-B012-6FC1B0757796}" dt="2022-04-04T01:14:30.377" v="1046"/>
          <ac:picMkLst>
            <pc:docMk/>
            <pc:sldMk cId="675763070" sldId="2147375113"/>
            <ac:picMk id="75" creationId="{5C9590AC-ACBF-494A-81AD-8C4850B3C7AE}"/>
          </ac:picMkLst>
        </pc:picChg>
        <pc:picChg chg="mod">
          <ac:chgData name="Rajat Taneja" userId="4ec436a0-470b-456a-af42-a15c99f1cebd" providerId="ADAL" clId="{3CFFE7A2-FFBC-49D3-B012-6FC1B0757796}" dt="2022-04-04T01:14:30.377" v="1046"/>
          <ac:picMkLst>
            <pc:docMk/>
            <pc:sldMk cId="675763070" sldId="2147375113"/>
            <ac:picMk id="76" creationId="{B3A0E660-AA26-4446-84D6-3E48C7DF1F9E}"/>
          </ac:picMkLst>
        </pc:picChg>
        <pc:picChg chg="mod">
          <ac:chgData name="Rajat Taneja" userId="4ec436a0-470b-456a-af42-a15c99f1cebd" providerId="ADAL" clId="{3CFFE7A2-FFBC-49D3-B012-6FC1B0757796}" dt="2022-04-04T01:14:30.377" v="1046"/>
          <ac:picMkLst>
            <pc:docMk/>
            <pc:sldMk cId="675763070" sldId="2147375113"/>
            <ac:picMk id="77" creationId="{E7593AD6-2C55-4F3F-A369-DF3F64318F14}"/>
          </ac:picMkLst>
        </pc:picChg>
        <pc:picChg chg="mod">
          <ac:chgData name="Rajat Taneja" userId="4ec436a0-470b-456a-af42-a15c99f1cebd" providerId="ADAL" clId="{3CFFE7A2-FFBC-49D3-B012-6FC1B0757796}" dt="2022-04-04T01:14:30.377" v="1046"/>
          <ac:picMkLst>
            <pc:docMk/>
            <pc:sldMk cId="675763070" sldId="2147375113"/>
            <ac:picMk id="78" creationId="{18A4CAE6-3E3B-4D2F-A3CD-B905EC29A36E}"/>
          </ac:picMkLst>
        </pc:picChg>
        <pc:picChg chg="mod">
          <ac:chgData name="Rajat Taneja" userId="4ec436a0-470b-456a-af42-a15c99f1cebd" providerId="ADAL" clId="{3CFFE7A2-FFBC-49D3-B012-6FC1B0757796}" dt="2022-04-04T01:14:30.377" v="1046"/>
          <ac:picMkLst>
            <pc:docMk/>
            <pc:sldMk cId="675763070" sldId="2147375113"/>
            <ac:picMk id="79" creationId="{5A9CE6EA-1DC5-4996-B523-EBE83EAEDE21}"/>
          </ac:picMkLst>
        </pc:picChg>
        <pc:picChg chg="mod">
          <ac:chgData name="Rajat Taneja" userId="4ec436a0-470b-456a-af42-a15c99f1cebd" providerId="ADAL" clId="{3CFFE7A2-FFBC-49D3-B012-6FC1B0757796}" dt="2022-04-04T01:14:30.377" v="1046"/>
          <ac:picMkLst>
            <pc:docMk/>
            <pc:sldMk cId="675763070" sldId="2147375113"/>
            <ac:picMk id="80" creationId="{9D27DF67-CDA6-43EC-919C-E44A96785296}"/>
          </ac:picMkLst>
        </pc:picChg>
        <pc:picChg chg="mod">
          <ac:chgData name="Rajat Taneja" userId="4ec436a0-470b-456a-af42-a15c99f1cebd" providerId="ADAL" clId="{3CFFE7A2-FFBC-49D3-B012-6FC1B0757796}" dt="2022-04-04T01:14:30.377" v="1046"/>
          <ac:picMkLst>
            <pc:docMk/>
            <pc:sldMk cId="675763070" sldId="2147375113"/>
            <ac:picMk id="81" creationId="{8FB91145-E890-4EB4-B167-4E36A598B3A7}"/>
          </ac:picMkLst>
        </pc:picChg>
        <pc:picChg chg="mod">
          <ac:chgData name="Rajat Taneja" userId="4ec436a0-470b-456a-af42-a15c99f1cebd" providerId="ADAL" clId="{3CFFE7A2-FFBC-49D3-B012-6FC1B0757796}" dt="2022-04-04T01:14:30.377" v="1046"/>
          <ac:picMkLst>
            <pc:docMk/>
            <pc:sldMk cId="675763070" sldId="2147375113"/>
            <ac:picMk id="84" creationId="{12CAC28D-E98D-4176-BEF0-709C4C2BFAB8}"/>
          </ac:picMkLst>
        </pc:picChg>
        <pc:picChg chg="mod">
          <ac:chgData name="Rajat Taneja" userId="4ec436a0-470b-456a-af42-a15c99f1cebd" providerId="ADAL" clId="{3CFFE7A2-FFBC-49D3-B012-6FC1B0757796}" dt="2022-04-04T01:14:30.377" v="1046"/>
          <ac:picMkLst>
            <pc:docMk/>
            <pc:sldMk cId="675763070" sldId="2147375113"/>
            <ac:picMk id="85" creationId="{DEC8D11C-8611-4C48-B9F8-E00AB33F7698}"/>
          </ac:picMkLst>
        </pc:picChg>
        <pc:picChg chg="mod">
          <ac:chgData name="Rajat Taneja" userId="4ec436a0-470b-456a-af42-a15c99f1cebd" providerId="ADAL" clId="{3CFFE7A2-FFBC-49D3-B012-6FC1B0757796}" dt="2022-04-04T01:14:30.377" v="1046"/>
          <ac:picMkLst>
            <pc:docMk/>
            <pc:sldMk cId="675763070" sldId="2147375113"/>
            <ac:picMk id="86" creationId="{61E21FCF-65E4-4A57-84AD-1208310B5A86}"/>
          </ac:picMkLst>
        </pc:picChg>
        <pc:picChg chg="mod">
          <ac:chgData name="Rajat Taneja" userId="4ec436a0-470b-456a-af42-a15c99f1cebd" providerId="ADAL" clId="{3CFFE7A2-FFBC-49D3-B012-6FC1B0757796}" dt="2022-04-04T01:14:30.377" v="1046"/>
          <ac:picMkLst>
            <pc:docMk/>
            <pc:sldMk cId="675763070" sldId="2147375113"/>
            <ac:picMk id="87" creationId="{02DC230C-9435-47E6-B6DB-C82E85672C06}"/>
          </ac:picMkLst>
        </pc:picChg>
        <pc:picChg chg="mod">
          <ac:chgData name="Rajat Taneja" userId="4ec436a0-470b-456a-af42-a15c99f1cebd" providerId="ADAL" clId="{3CFFE7A2-FFBC-49D3-B012-6FC1B0757796}" dt="2022-04-04T01:14:30.377" v="1046"/>
          <ac:picMkLst>
            <pc:docMk/>
            <pc:sldMk cId="675763070" sldId="2147375113"/>
            <ac:picMk id="89" creationId="{9648A3D3-4786-4262-9716-CC320304DA43}"/>
          </ac:picMkLst>
        </pc:picChg>
        <pc:picChg chg="mod">
          <ac:chgData name="Rajat Taneja" userId="4ec436a0-470b-456a-af42-a15c99f1cebd" providerId="ADAL" clId="{3CFFE7A2-FFBC-49D3-B012-6FC1B0757796}" dt="2022-04-04T01:14:30.377" v="1046"/>
          <ac:picMkLst>
            <pc:docMk/>
            <pc:sldMk cId="675763070" sldId="2147375113"/>
            <ac:picMk id="90" creationId="{DF0BB755-F36F-4BB8-B4EE-BA24289A657F}"/>
          </ac:picMkLst>
        </pc:picChg>
        <pc:picChg chg="mod">
          <ac:chgData name="Rajat Taneja" userId="4ec436a0-470b-456a-af42-a15c99f1cebd" providerId="ADAL" clId="{3CFFE7A2-FFBC-49D3-B012-6FC1B0757796}" dt="2022-04-04T01:14:30.377" v="1046"/>
          <ac:picMkLst>
            <pc:docMk/>
            <pc:sldMk cId="675763070" sldId="2147375113"/>
            <ac:picMk id="91" creationId="{D8009EDC-AA13-479D-B5D6-BC68FB7302CB}"/>
          </ac:picMkLst>
        </pc:picChg>
        <pc:picChg chg="mod">
          <ac:chgData name="Rajat Taneja" userId="4ec436a0-470b-456a-af42-a15c99f1cebd" providerId="ADAL" clId="{3CFFE7A2-FFBC-49D3-B012-6FC1B0757796}" dt="2022-04-04T01:14:30.377" v="1046"/>
          <ac:picMkLst>
            <pc:docMk/>
            <pc:sldMk cId="675763070" sldId="2147375113"/>
            <ac:picMk id="92" creationId="{C4697841-2A4B-4638-8A15-40B019C8F958}"/>
          </ac:picMkLst>
        </pc:picChg>
        <pc:picChg chg="mod">
          <ac:chgData name="Rajat Taneja" userId="4ec436a0-470b-456a-af42-a15c99f1cebd" providerId="ADAL" clId="{3CFFE7A2-FFBC-49D3-B012-6FC1B0757796}" dt="2022-04-04T01:14:30.377" v="1046"/>
          <ac:picMkLst>
            <pc:docMk/>
            <pc:sldMk cId="675763070" sldId="2147375113"/>
            <ac:picMk id="96" creationId="{798ADAB2-E5EE-47A8-82A5-693B45FD25ED}"/>
          </ac:picMkLst>
        </pc:picChg>
        <pc:picChg chg="mod">
          <ac:chgData name="Rajat Taneja" userId="4ec436a0-470b-456a-af42-a15c99f1cebd" providerId="ADAL" clId="{3CFFE7A2-FFBC-49D3-B012-6FC1B0757796}" dt="2022-04-04T01:14:30.377" v="1046"/>
          <ac:picMkLst>
            <pc:docMk/>
            <pc:sldMk cId="675763070" sldId="2147375113"/>
            <ac:picMk id="98" creationId="{EBB0B248-14F2-4DC6-B187-C6B1DAFCFC1F}"/>
          </ac:picMkLst>
        </pc:picChg>
        <pc:picChg chg="mod">
          <ac:chgData name="Rajat Taneja" userId="4ec436a0-470b-456a-af42-a15c99f1cebd" providerId="ADAL" clId="{3CFFE7A2-FFBC-49D3-B012-6FC1B0757796}" dt="2022-04-04T01:14:30.377" v="1046"/>
          <ac:picMkLst>
            <pc:docMk/>
            <pc:sldMk cId="675763070" sldId="2147375113"/>
            <ac:picMk id="99" creationId="{46C74B80-4DA4-4A54-920B-B1265245DFA2}"/>
          </ac:picMkLst>
        </pc:picChg>
        <pc:picChg chg="mod">
          <ac:chgData name="Rajat Taneja" userId="4ec436a0-470b-456a-af42-a15c99f1cebd" providerId="ADAL" clId="{3CFFE7A2-FFBC-49D3-B012-6FC1B0757796}" dt="2022-04-04T01:14:30.377" v="1046"/>
          <ac:picMkLst>
            <pc:docMk/>
            <pc:sldMk cId="675763070" sldId="2147375113"/>
            <ac:picMk id="100" creationId="{1C2FF5C2-36B1-499B-BBD0-C147BE9BBE3F}"/>
          </ac:picMkLst>
        </pc:picChg>
        <pc:picChg chg="mod">
          <ac:chgData name="Rajat Taneja" userId="4ec436a0-470b-456a-af42-a15c99f1cebd" providerId="ADAL" clId="{3CFFE7A2-FFBC-49D3-B012-6FC1B0757796}" dt="2022-04-04T01:14:30.377" v="1046"/>
          <ac:picMkLst>
            <pc:docMk/>
            <pc:sldMk cId="675763070" sldId="2147375113"/>
            <ac:picMk id="101" creationId="{772D1DD3-9A02-409F-9BBA-2AFBE0CB51C3}"/>
          </ac:picMkLst>
        </pc:picChg>
        <pc:picChg chg="mod">
          <ac:chgData name="Rajat Taneja" userId="4ec436a0-470b-456a-af42-a15c99f1cebd" providerId="ADAL" clId="{3CFFE7A2-FFBC-49D3-B012-6FC1B0757796}" dt="2022-04-04T01:14:30.377" v="1046"/>
          <ac:picMkLst>
            <pc:docMk/>
            <pc:sldMk cId="675763070" sldId="2147375113"/>
            <ac:picMk id="102" creationId="{1941551A-407F-4FE1-BF43-7F2C7704F364}"/>
          </ac:picMkLst>
        </pc:picChg>
        <pc:picChg chg="mod">
          <ac:chgData name="Rajat Taneja" userId="4ec436a0-470b-456a-af42-a15c99f1cebd" providerId="ADAL" clId="{3CFFE7A2-FFBC-49D3-B012-6FC1B0757796}" dt="2022-04-04T01:14:30.377" v="1046"/>
          <ac:picMkLst>
            <pc:docMk/>
            <pc:sldMk cId="675763070" sldId="2147375113"/>
            <ac:picMk id="103" creationId="{5052E5E7-4138-4EAC-AFC1-FB617D863D96}"/>
          </ac:picMkLst>
        </pc:picChg>
        <pc:picChg chg="mod">
          <ac:chgData name="Rajat Taneja" userId="4ec436a0-470b-456a-af42-a15c99f1cebd" providerId="ADAL" clId="{3CFFE7A2-FFBC-49D3-B012-6FC1B0757796}" dt="2022-04-04T01:14:30.377" v="1046"/>
          <ac:picMkLst>
            <pc:docMk/>
            <pc:sldMk cId="675763070" sldId="2147375113"/>
            <ac:picMk id="104" creationId="{26BFAFA3-67E7-4657-9DCB-F7E82120B42E}"/>
          </ac:picMkLst>
        </pc:picChg>
        <pc:picChg chg="mod">
          <ac:chgData name="Rajat Taneja" userId="4ec436a0-470b-456a-af42-a15c99f1cebd" providerId="ADAL" clId="{3CFFE7A2-FFBC-49D3-B012-6FC1B0757796}" dt="2022-04-04T01:14:30.377" v="1046"/>
          <ac:picMkLst>
            <pc:docMk/>
            <pc:sldMk cId="675763070" sldId="2147375113"/>
            <ac:picMk id="105" creationId="{7AD35C9D-959A-4D92-82D7-2AE031200EC4}"/>
          </ac:picMkLst>
        </pc:picChg>
        <pc:picChg chg="mod">
          <ac:chgData name="Rajat Taneja" userId="4ec436a0-470b-456a-af42-a15c99f1cebd" providerId="ADAL" clId="{3CFFE7A2-FFBC-49D3-B012-6FC1B0757796}" dt="2022-04-04T01:14:30.377" v="1046"/>
          <ac:picMkLst>
            <pc:docMk/>
            <pc:sldMk cId="675763070" sldId="2147375113"/>
            <ac:picMk id="106" creationId="{4874757F-92B8-483E-96AC-296CE1B05BAA}"/>
          </ac:picMkLst>
        </pc:picChg>
        <pc:picChg chg="mod">
          <ac:chgData name="Rajat Taneja" userId="4ec436a0-470b-456a-af42-a15c99f1cebd" providerId="ADAL" clId="{3CFFE7A2-FFBC-49D3-B012-6FC1B0757796}" dt="2022-04-04T01:14:30.377" v="1046"/>
          <ac:picMkLst>
            <pc:docMk/>
            <pc:sldMk cId="675763070" sldId="2147375113"/>
            <ac:picMk id="107" creationId="{1C3544AC-64C5-4EAA-BC12-CBC64149C9BB}"/>
          </ac:picMkLst>
        </pc:picChg>
        <pc:picChg chg="mod">
          <ac:chgData name="Rajat Taneja" userId="4ec436a0-470b-456a-af42-a15c99f1cebd" providerId="ADAL" clId="{3CFFE7A2-FFBC-49D3-B012-6FC1B0757796}" dt="2022-04-04T01:14:30.377" v="1046"/>
          <ac:picMkLst>
            <pc:docMk/>
            <pc:sldMk cId="675763070" sldId="2147375113"/>
            <ac:picMk id="108" creationId="{9AA4887A-48CD-4A10-865C-A0880A0E0005}"/>
          </ac:picMkLst>
        </pc:picChg>
        <pc:picChg chg="mod">
          <ac:chgData name="Rajat Taneja" userId="4ec436a0-470b-456a-af42-a15c99f1cebd" providerId="ADAL" clId="{3CFFE7A2-FFBC-49D3-B012-6FC1B0757796}" dt="2022-04-04T01:14:30.377" v="1046"/>
          <ac:picMkLst>
            <pc:docMk/>
            <pc:sldMk cId="675763070" sldId="2147375113"/>
            <ac:picMk id="109" creationId="{932FF6C4-3B1A-4E9A-A13E-37D45311810A}"/>
          </ac:picMkLst>
        </pc:picChg>
        <pc:picChg chg="mod">
          <ac:chgData name="Rajat Taneja" userId="4ec436a0-470b-456a-af42-a15c99f1cebd" providerId="ADAL" clId="{3CFFE7A2-FFBC-49D3-B012-6FC1B0757796}" dt="2022-04-04T01:14:30.377" v="1046"/>
          <ac:picMkLst>
            <pc:docMk/>
            <pc:sldMk cId="675763070" sldId="2147375113"/>
            <ac:picMk id="112" creationId="{ED7DD262-3642-4D03-8787-6031A682BB34}"/>
          </ac:picMkLst>
        </pc:picChg>
        <pc:picChg chg="mod">
          <ac:chgData name="Rajat Taneja" userId="4ec436a0-470b-456a-af42-a15c99f1cebd" providerId="ADAL" clId="{3CFFE7A2-FFBC-49D3-B012-6FC1B0757796}" dt="2022-04-04T01:14:30.377" v="1046"/>
          <ac:picMkLst>
            <pc:docMk/>
            <pc:sldMk cId="675763070" sldId="2147375113"/>
            <ac:picMk id="113" creationId="{24DE500C-47B8-4D6F-89B7-B7787E808850}"/>
          </ac:picMkLst>
        </pc:picChg>
        <pc:picChg chg="mod">
          <ac:chgData name="Rajat Taneja" userId="4ec436a0-470b-456a-af42-a15c99f1cebd" providerId="ADAL" clId="{3CFFE7A2-FFBC-49D3-B012-6FC1B0757796}" dt="2022-04-04T01:14:30.377" v="1046"/>
          <ac:picMkLst>
            <pc:docMk/>
            <pc:sldMk cId="675763070" sldId="2147375113"/>
            <ac:picMk id="114" creationId="{42763B22-94E2-4C3E-B2E8-148E2BB087BE}"/>
          </ac:picMkLst>
        </pc:picChg>
        <pc:picChg chg="mod">
          <ac:chgData name="Rajat Taneja" userId="4ec436a0-470b-456a-af42-a15c99f1cebd" providerId="ADAL" clId="{3CFFE7A2-FFBC-49D3-B012-6FC1B0757796}" dt="2022-04-04T01:14:30.377" v="1046"/>
          <ac:picMkLst>
            <pc:docMk/>
            <pc:sldMk cId="675763070" sldId="2147375113"/>
            <ac:picMk id="115" creationId="{9106C73E-3B3A-4C5C-A04A-0263A8D27EA0}"/>
          </ac:picMkLst>
        </pc:picChg>
        <pc:picChg chg="mod">
          <ac:chgData name="Rajat Taneja" userId="4ec436a0-470b-456a-af42-a15c99f1cebd" providerId="ADAL" clId="{3CFFE7A2-FFBC-49D3-B012-6FC1B0757796}" dt="2022-04-04T01:14:30.377" v="1046"/>
          <ac:picMkLst>
            <pc:docMk/>
            <pc:sldMk cId="675763070" sldId="2147375113"/>
            <ac:picMk id="117" creationId="{EE67B7F6-991F-45BD-A3EB-DFB5010E1250}"/>
          </ac:picMkLst>
        </pc:picChg>
        <pc:picChg chg="mod">
          <ac:chgData name="Rajat Taneja" userId="4ec436a0-470b-456a-af42-a15c99f1cebd" providerId="ADAL" clId="{3CFFE7A2-FFBC-49D3-B012-6FC1B0757796}" dt="2022-04-04T01:14:30.377" v="1046"/>
          <ac:picMkLst>
            <pc:docMk/>
            <pc:sldMk cId="675763070" sldId="2147375113"/>
            <ac:picMk id="118" creationId="{74B8830F-9DFB-402A-8244-D5EE4EEA3162}"/>
          </ac:picMkLst>
        </pc:picChg>
        <pc:picChg chg="mod">
          <ac:chgData name="Rajat Taneja" userId="4ec436a0-470b-456a-af42-a15c99f1cebd" providerId="ADAL" clId="{3CFFE7A2-FFBC-49D3-B012-6FC1B0757796}" dt="2022-04-04T01:14:30.377" v="1046"/>
          <ac:picMkLst>
            <pc:docMk/>
            <pc:sldMk cId="675763070" sldId="2147375113"/>
            <ac:picMk id="119" creationId="{82927155-8820-4447-A214-B2264A41B26C}"/>
          </ac:picMkLst>
        </pc:picChg>
        <pc:picChg chg="mod">
          <ac:chgData name="Rajat Taneja" userId="4ec436a0-470b-456a-af42-a15c99f1cebd" providerId="ADAL" clId="{3CFFE7A2-FFBC-49D3-B012-6FC1B0757796}" dt="2022-04-04T01:14:30.377" v="1046"/>
          <ac:picMkLst>
            <pc:docMk/>
            <pc:sldMk cId="675763070" sldId="2147375113"/>
            <ac:picMk id="120" creationId="{2A4D5599-0806-4293-9023-43DEB6CEC4C2}"/>
          </ac:picMkLst>
        </pc:picChg>
        <pc:picChg chg="mod">
          <ac:chgData name="Rajat Taneja" userId="4ec436a0-470b-456a-af42-a15c99f1cebd" providerId="ADAL" clId="{3CFFE7A2-FFBC-49D3-B012-6FC1B0757796}" dt="2022-04-04T01:14:30.377" v="1046"/>
          <ac:picMkLst>
            <pc:docMk/>
            <pc:sldMk cId="675763070" sldId="2147375113"/>
            <ac:picMk id="129" creationId="{C1C0F43F-6F75-4E4C-A2D7-A59E23584FE5}"/>
          </ac:picMkLst>
        </pc:picChg>
        <pc:picChg chg="mod">
          <ac:chgData name="Rajat Taneja" userId="4ec436a0-470b-456a-af42-a15c99f1cebd" providerId="ADAL" clId="{3CFFE7A2-FFBC-49D3-B012-6FC1B0757796}" dt="2022-04-04T01:14:30.377" v="1046"/>
          <ac:picMkLst>
            <pc:docMk/>
            <pc:sldMk cId="675763070" sldId="2147375113"/>
            <ac:picMk id="131" creationId="{BA3270A0-65B1-4B72-8743-068ACDC71EA7}"/>
          </ac:picMkLst>
        </pc:picChg>
        <pc:picChg chg="mod">
          <ac:chgData name="Rajat Taneja" userId="4ec436a0-470b-456a-af42-a15c99f1cebd" providerId="ADAL" clId="{3CFFE7A2-FFBC-49D3-B012-6FC1B0757796}" dt="2022-04-04T01:14:30.377" v="1046"/>
          <ac:picMkLst>
            <pc:docMk/>
            <pc:sldMk cId="675763070" sldId="2147375113"/>
            <ac:picMk id="132" creationId="{1D7CA7E6-6FB5-4D6E-AD78-138EDB0B82E1}"/>
          </ac:picMkLst>
        </pc:picChg>
        <pc:picChg chg="mod">
          <ac:chgData name="Rajat Taneja" userId="4ec436a0-470b-456a-af42-a15c99f1cebd" providerId="ADAL" clId="{3CFFE7A2-FFBC-49D3-B012-6FC1B0757796}" dt="2022-04-04T01:14:30.377" v="1046"/>
          <ac:picMkLst>
            <pc:docMk/>
            <pc:sldMk cId="675763070" sldId="2147375113"/>
            <ac:picMk id="133" creationId="{DBEB52DE-B82A-4FF3-99C7-E0DA3AECF1C9}"/>
          </ac:picMkLst>
        </pc:picChg>
        <pc:picChg chg="mod">
          <ac:chgData name="Rajat Taneja" userId="4ec436a0-470b-456a-af42-a15c99f1cebd" providerId="ADAL" clId="{3CFFE7A2-FFBC-49D3-B012-6FC1B0757796}" dt="2022-04-04T01:14:30.377" v="1046"/>
          <ac:picMkLst>
            <pc:docMk/>
            <pc:sldMk cId="675763070" sldId="2147375113"/>
            <ac:picMk id="134" creationId="{4DD99321-A4F5-4606-AF0D-2BE8ABD44AEE}"/>
          </ac:picMkLst>
        </pc:picChg>
        <pc:picChg chg="mod">
          <ac:chgData name="Rajat Taneja" userId="4ec436a0-470b-456a-af42-a15c99f1cebd" providerId="ADAL" clId="{3CFFE7A2-FFBC-49D3-B012-6FC1B0757796}" dt="2022-04-04T01:14:30.377" v="1046"/>
          <ac:picMkLst>
            <pc:docMk/>
            <pc:sldMk cId="675763070" sldId="2147375113"/>
            <ac:picMk id="135" creationId="{42058F1F-4D39-4A22-8B35-CD5BCC1A2BA1}"/>
          </ac:picMkLst>
        </pc:picChg>
        <pc:picChg chg="mod">
          <ac:chgData name="Rajat Taneja" userId="4ec436a0-470b-456a-af42-a15c99f1cebd" providerId="ADAL" clId="{3CFFE7A2-FFBC-49D3-B012-6FC1B0757796}" dt="2022-04-04T01:14:30.377" v="1046"/>
          <ac:picMkLst>
            <pc:docMk/>
            <pc:sldMk cId="675763070" sldId="2147375113"/>
            <ac:picMk id="136" creationId="{912DA513-D7AD-4ABD-BF4C-8C06F6F0CA73}"/>
          </ac:picMkLst>
        </pc:picChg>
        <pc:picChg chg="mod">
          <ac:chgData name="Rajat Taneja" userId="4ec436a0-470b-456a-af42-a15c99f1cebd" providerId="ADAL" clId="{3CFFE7A2-FFBC-49D3-B012-6FC1B0757796}" dt="2022-04-04T01:14:30.377" v="1046"/>
          <ac:picMkLst>
            <pc:docMk/>
            <pc:sldMk cId="675763070" sldId="2147375113"/>
            <ac:picMk id="137" creationId="{0ECFB3F3-79DF-4FC8-80FD-82EC91AEFB9C}"/>
          </ac:picMkLst>
        </pc:picChg>
        <pc:picChg chg="mod">
          <ac:chgData name="Rajat Taneja" userId="4ec436a0-470b-456a-af42-a15c99f1cebd" providerId="ADAL" clId="{3CFFE7A2-FFBC-49D3-B012-6FC1B0757796}" dt="2022-04-04T01:14:30.377" v="1046"/>
          <ac:picMkLst>
            <pc:docMk/>
            <pc:sldMk cId="675763070" sldId="2147375113"/>
            <ac:picMk id="138" creationId="{A35C6280-564D-4663-A845-76194A92F9CE}"/>
          </ac:picMkLst>
        </pc:picChg>
        <pc:picChg chg="mod">
          <ac:chgData name="Rajat Taneja" userId="4ec436a0-470b-456a-af42-a15c99f1cebd" providerId="ADAL" clId="{3CFFE7A2-FFBC-49D3-B012-6FC1B0757796}" dt="2022-04-04T01:14:30.377" v="1046"/>
          <ac:picMkLst>
            <pc:docMk/>
            <pc:sldMk cId="675763070" sldId="2147375113"/>
            <ac:picMk id="139" creationId="{4A213162-C06F-480A-B269-BAB01A4D1974}"/>
          </ac:picMkLst>
        </pc:picChg>
        <pc:picChg chg="mod">
          <ac:chgData name="Rajat Taneja" userId="4ec436a0-470b-456a-af42-a15c99f1cebd" providerId="ADAL" clId="{3CFFE7A2-FFBC-49D3-B012-6FC1B0757796}" dt="2022-04-04T01:14:30.377" v="1046"/>
          <ac:picMkLst>
            <pc:docMk/>
            <pc:sldMk cId="675763070" sldId="2147375113"/>
            <ac:picMk id="140" creationId="{05847A07-91FE-40D5-8FA6-BC1EFCDF800A}"/>
          </ac:picMkLst>
        </pc:picChg>
        <pc:picChg chg="mod">
          <ac:chgData name="Rajat Taneja" userId="4ec436a0-470b-456a-af42-a15c99f1cebd" providerId="ADAL" clId="{3CFFE7A2-FFBC-49D3-B012-6FC1B0757796}" dt="2022-04-04T01:14:30.377" v="1046"/>
          <ac:picMkLst>
            <pc:docMk/>
            <pc:sldMk cId="675763070" sldId="2147375113"/>
            <ac:picMk id="141" creationId="{03AAF83B-7AD3-46DA-AC7F-F0EBF9F64BAE}"/>
          </ac:picMkLst>
        </pc:picChg>
        <pc:picChg chg="mod">
          <ac:chgData name="Rajat Taneja" userId="4ec436a0-470b-456a-af42-a15c99f1cebd" providerId="ADAL" clId="{3CFFE7A2-FFBC-49D3-B012-6FC1B0757796}" dt="2022-04-04T01:14:30.377" v="1046"/>
          <ac:picMkLst>
            <pc:docMk/>
            <pc:sldMk cId="675763070" sldId="2147375113"/>
            <ac:picMk id="142" creationId="{6EB1A338-382A-4674-9F44-B25ECE4629FA}"/>
          </ac:picMkLst>
        </pc:picChg>
        <pc:picChg chg="mod">
          <ac:chgData name="Rajat Taneja" userId="4ec436a0-470b-456a-af42-a15c99f1cebd" providerId="ADAL" clId="{3CFFE7A2-FFBC-49D3-B012-6FC1B0757796}" dt="2022-04-04T01:14:30.377" v="1046"/>
          <ac:picMkLst>
            <pc:docMk/>
            <pc:sldMk cId="675763070" sldId="2147375113"/>
            <ac:picMk id="146" creationId="{37559FF2-90FB-4AA5-AC69-998401432A09}"/>
          </ac:picMkLst>
        </pc:picChg>
        <pc:picChg chg="mod">
          <ac:chgData name="Rajat Taneja" userId="4ec436a0-470b-456a-af42-a15c99f1cebd" providerId="ADAL" clId="{3CFFE7A2-FFBC-49D3-B012-6FC1B0757796}" dt="2022-04-04T01:14:30.377" v="1046"/>
          <ac:picMkLst>
            <pc:docMk/>
            <pc:sldMk cId="675763070" sldId="2147375113"/>
            <ac:picMk id="148" creationId="{83168291-1E75-4845-A717-10E347908066}"/>
          </ac:picMkLst>
        </pc:picChg>
        <pc:picChg chg="mod">
          <ac:chgData name="Rajat Taneja" userId="4ec436a0-470b-456a-af42-a15c99f1cebd" providerId="ADAL" clId="{3CFFE7A2-FFBC-49D3-B012-6FC1B0757796}" dt="2022-04-04T01:14:30.377" v="1046"/>
          <ac:picMkLst>
            <pc:docMk/>
            <pc:sldMk cId="675763070" sldId="2147375113"/>
            <ac:picMk id="149" creationId="{BEE939C6-43B8-44C6-AB3A-A286AF0ADF97}"/>
          </ac:picMkLst>
        </pc:picChg>
        <pc:picChg chg="mod">
          <ac:chgData name="Rajat Taneja" userId="4ec436a0-470b-456a-af42-a15c99f1cebd" providerId="ADAL" clId="{3CFFE7A2-FFBC-49D3-B012-6FC1B0757796}" dt="2022-04-04T01:14:30.377" v="1046"/>
          <ac:picMkLst>
            <pc:docMk/>
            <pc:sldMk cId="675763070" sldId="2147375113"/>
            <ac:picMk id="150" creationId="{8CB0C800-9763-4190-8093-7582E68251ED}"/>
          </ac:picMkLst>
        </pc:picChg>
        <pc:picChg chg="mod">
          <ac:chgData name="Rajat Taneja" userId="4ec436a0-470b-456a-af42-a15c99f1cebd" providerId="ADAL" clId="{3CFFE7A2-FFBC-49D3-B012-6FC1B0757796}" dt="2022-04-04T01:14:30.377" v="1046"/>
          <ac:picMkLst>
            <pc:docMk/>
            <pc:sldMk cId="675763070" sldId="2147375113"/>
            <ac:picMk id="151" creationId="{11C4EEE5-CEFA-47F1-806B-935036385301}"/>
          </ac:picMkLst>
        </pc:picChg>
        <pc:picChg chg="mod">
          <ac:chgData name="Rajat Taneja" userId="4ec436a0-470b-456a-af42-a15c99f1cebd" providerId="ADAL" clId="{3CFFE7A2-FFBC-49D3-B012-6FC1B0757796}" dt="2022-04-04T01:14:30.377" v="1046"/>
          <ac:picMkLst>
            <pc:docMk/>
            <pc:sldMk cId="675763070" sldId="2147375113"/>
            <ac:picMk id="152" creationId="{880078E1-89C4-4B1F-B21A-8CCCEA67A5AE}"/>
          </ac:picMkLst>
        </pc:picChg>
        <pc:picChg chg="mod">
          <ac:chgData name="Rajat Taneja" userId="4ec436a0-470b-456a-af42-a15c99f1cebd" providerId="ADAL" clId="{3CFFE7A2-FFBC-49D3-B012-6FC1B0757796}" dt="2022-04-04T01:14:30.377" v="1046"/>
          <ac:picMkLst>
            <pc:docMk/>
            <pc:sldMk cId="675763070" sldId="2147375113"/>
            <ac:picMk id="153" creationId="{2DF2B2CC-F653-47DD-9911-E25986CE58E1}"/>
          </ac:picMkLst>
        </pc:picChg>
        <pc:picChg chg="mod">
          <ac:chgData name="Rajat Taneja" userId="4ec436a0-470b-456a-af42-a15c99f1cebd" providerId="ADAL" clId="{3CFFE7A2-FFBC-49D3-B012-6FC1B0757796}" dt="2022-04-04T01:14:30.377" v="1046"/>
          <ac:picMkLst>
            <pc:docMk/>
            <pc:sldMk cId="675763070" sldId="2147375113"/>
            <ac:picMk id="154" creationId="{83D0EA15-3C0E-4200-BAD2-ACD5D5F49765}"/>
          </ac:picMkLst>
        </pc:picChg>
        <pc:picChg chg="mod">
          <ac:chgData name="Rajat Taneja" userId="4ec436a0-470b-456a-af42-a15c99f1cebd" providerId="ADAL" clId="{3CFFE7A2-FFBC-49D3-B012-6FC1B0757796}" dt="2022-04-04T01:14:30.377" v="1046"/>
          <ac:picMkLst>
            <pc:docMk/>
            <pc:sldMk cId="675763070" sldId="2147375113"/>
            <ac:picMk id="155" creationId="{78A1F60E-5EB0-4784-9816-0E96EDDF2BF1}"/>
          </ac:picMkLst>
        </pc:picChg>
        <pc:picChg chg="mod">
          <ac:chgData name="Rajat Taneja" userId="4ec436a0-470b-456a-af42-a15c99f1cebd" providerId="ADAL" clId="{3CFFE7A2-FFBC-49D3-B012-6FC1B0757796}" dt="2022-04-04T01:14:30.377" v="1046"/>
          <ac:picMkLst>
            <pc:docMk/>
            <pc:sldMk cId="675763070" sldId="2147375113"/>
            <ac:picMk id="156" creationId="{E9118AE8-9941-4B62-8A3B-1D9E902FCBB3}"/>
          </ac:picMkLst>
        </pc:picChg>
        <pc:picChg chg="mod">
          <ac:chgData name="Rajat Taneja" userId="4ec436a0-470b-456a-af42-a15c99f1cebd" providerId="ADAL" clId="{3CFFE7A2-FFBC-49D3-B012-6FC1B0757796}" dt="2022-04-04T01:14:30.377" v="1046"/>
          <ac:picMkLst>
            <pc:docMk/>
            <pc:sldMk cId="675763070" sldId="2147375113"/>
            <ac:picMk id="157" creationId="{0D71856F-C394-4AF0-AE7D-C06A62236DF5}"/>
          </ac:picMkLst>
        </pc:picChg>
        <pc:picChg chg="mod">
          <ac:chgData name="Rajat Taneja" userId="4ec436a0-470b-456a-af42-a15c99f1cebd" providerId="ADAL" clId="{3CFFE7A2-FFBC-49D3-B012-6FC1B0757796}" dt="2022-04-04T01:14:30.377" v="1046"/>
          <ac:picMkLst>
            <pc:docMk/>
            <pc:sldMk cId="675763070" sldId="2147375113"/>
            <ac:picMk id="158" creationId="{9D7D92A5-5DD8-46AB-8A49-190C5E0F3BFF}"/>
          </ac:picMkLst>
        </pc:picChg>
        <pc:picChg chg="mod">
          <ac:chgData name="Rajat Taneja" userId="4ec436a0-470b-456a-af42-a15c99f1cebd" providerId="ADAL" clId="{3CFFE7A2-FFBC-49D3-B012-6FC1B0757796}" dt="2022-04-04T01:14:30.377" v="1046"/>
          <ac:picMkLst>
            <pc:docMk/>
            <pc:sldMk cId="675763070" sldId="2147375113"/>
            <ac:picMk id="159" creationId="{4C26A2B6-AE2B-42C6-A0F1-4189086DBEF7}"/>
          </ac:picMkLst>
        </pc:picChg>
        <pc:picChg chg="add mod">
          <ac:chgData name="Rajat Taneja" userId="4ec436a0-470b-456a-af42-a15c99f1cebd" providerId="ADAL" clId="{3CFFE7A2-FFBC-49D3-B012-6FC1B0757796}" dt="2022-04-04T01:16:15.365" v="1233" actId="1037"/>
          <ac:picMkLst>
            <pc:docMk/>
            <pc:sldMk cId="675763070" sldId="2147375113"/>
            <ac:picMk id="160" creationId="{8C63FB27-910A-4F21-BBBF-D24A588BFFE2}"/>
          </ac:picMkLst>
        </pc:picChg>
        <pc:picChg chg="add mod">
          <ac:chgData name="Rajat Taneja" userId="4ec436a0-470b-456a-af42-a15c99f1cebd" providerId="ADAL" clId="{3CFFE7A2-FFBC-49D3-B012-6FC1B0757796}" dt="2022-04-04T01:16:15.365" v="1233" actId="1037"/>
          <ac:picMkLst>
            <pc:docMk/>
            <pc:sldMk cId="675763070" sldId="2147375113"/>
            <ac:picMk id="163" creationId="{4A658EA3-6586-4E4C-A0CD-DCC3DE29AB1A}"/>
          </ac:picMkLst>
        </pc:picChg>
        <pc:picChg chg="mod">
          <ac:chgData name="Rajat Taneja" userId="4ec436a0-470b-456a-af42-a15c99f1cebd" providerId="ADAL" clId="{3CFFE7A2-FFBC-49D3-B012-6FC1B0757796}" dt="2022-04-04T01:14:30.377" v="1046"/>
          <ac:picMkLst>
            <pc:docMk/>
            <pc:sldMk cId="675763070" sldId="2147375113"/>
            <ac:picMk id="166" creationId="{9CAE5BDD-3721-4093-94DE-7248F09D8D2B}"/>
          </ac:picMkLst>
        </pc:picChg>
        <pc:picChg chg="mod">
          <ac:chgData name="Rajat Taneja" userId="4ec436a0-470b-456a-af42-a15c99f1cebd" providerId="ADAL" clId="{3CFFE7A2-FFBC-49D3-B012-6FC1B0757796}" dt="2022-04-04T01:14:30.377" v="1046"/>
          <ac:picMkLst>
            <pc:docMk/>
            <pc:sldMk cId="675763070" sldId="2147375113"/>
            <ac:picMk id="169" creationId="{A991F29E-BEFD-4FF7-83F3-453F2E6175FB}"/>
          </ac:picMkLst>
        </pc:picChg>
        <pc:picChg chg="add mod">
          <ac:chgData name="Rajat Taneja" userId="4ec436a0-470b-456a-af42-a15c99f1cebd" providerId="ADAL" clId="{3CFFE7A2-FFBC-49D3-B012-6FC1B0757796}" dt="2022-04-04T01:16:15.365" v="1233" actId="1037"/>
          <ac:picMkLst>
            <pc:docMk/>
            <pc:sldMk cId="675763070" sldId="2147375113"/>
            <ac:picMk id="172" creationId="{64C641F5-B155-4686-8C39-0F4F747C1F92}"/>
          </ac:picMkLst>
        </pc:picChg>
        <pc:picChg chg="add mod">
          <ac:chgData name="Rajat Taneja" userId="4ec436a0-470b-456a-af42-a15c99f1cebd" providerId="ADAL" clId="{3CFFE7A2-FFBC-49D3-B012-6FC1B0757796}" dt="2022-04-04T01:16:15.365" v="1233" actId="1037"/>
          <ac:picMkLst>
            <pc:docMk/>
            <pc:sldMk cId="675763070" sldId="2147375113"/>
            <ac:picMk id="174" creationId="{9F39703F-9703-4830-B0FD-009DEDD15FF4}"/>
          </ac:picMkLst>
        </pc:picChg>
      </pc:sldChg>
      <pc:sldChg chg="del">
        <pc:chgData name="Rajat Taneja" userId="4ec436a0-470b-456a-af42-a15c99f1cebd" providerId="ADAL" clId="{3CFFE7A2-FFBC-49D3-B012-6FC1B0757796}" dt="2022-04-03T23:55:52.171" v="708" actId="47"/>
        <pc:sldMkLst>
          <pc:docMk/>
          <pc:sldMk cId="1351952753" sldId="2147375114"/>
        </pc:sldMkLst>
      </pc:sldChg>
      <pc:sldChg chg="del">
        <pc:chgData name="Rajat Taneja" userId="4ec436a0-470b-456a-af42-a15c99f1cebd" providerId="ADAL" clId="{3CFFE7A2-FFBC-49D3-B012-6FC1B0757796}" dt="2022-03-25T00:19:17.428" v="0" actId="47"/>
        <pc:sldMkLst>
          <pc:docMk/>
          <pc:sldMk cId="3897848223" sldId="214737511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Zurich Sans" panose="02000000000000000000" pitchFamily="2" charset="0"/>
              </a:defRPr>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Zurich Sans" panose="02000000000000000000" pitchFamily="2" charset="0"/>
              </a:defRPr>
            </a:lvl1pPr>
          </a:lstStyle>
          <a:p>
            <a:fld id="{8D2BE83D-E349-4E00-870A-299C1AADD78F}" type="datetimeFigureOut">
              <a:rPr lang="de-CH" smtClean="0"/>
              <a:pPr/>
              <a:t>16.08.2022</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Zurich Sans" panose="02000000000000000000" pitchFamily="2" charset="0"/>
              </a:defRPr>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Zurich Sans" panose="02000000000000000000" pitchFamily="2" charset="0"/>
              </a:defRPr>
            </a:lvl1pPr>
          </a:lstStyle>
          <a:p>
            <a:fld id="{4CA67613-D43A-4074-B74B-76232035B61C}" type="slidenum">
              <a:rPr lang="de-CH" smtClean="0"/>
              <a:pPr/>
              <a:t>‹#›</a:t>
            </a:fld>
            <a:endParaRPr lang="de-CH"/>
          </a:p>
        </p:txBody>
      </p:sp>
    </p:spTree>
    <p:extLst>
      <p:ext uri="{BB962C8B-B14F-4D97-AF65-F5344CB8AC3E}">
        <p14:creationId xmlns:p14="http://schemas.microsoft.com/office/powerpoint/2010/main" val="1894366255"/>
      </p:ext>
    </p:extLst>
  </p:cSld>
  <p:clrMap bg1="lt1" tx1="dk1" bg2="lt2" tx2="dk2" accent1="accent1" accent2="accent2" accent3="accent3" accent4="accent4" accent5="accent5" accent6="accent6" hlink="hlink" folHlink="folHlink"/>
  <p:notesStyle>
    <a:lvl1pPr marL="0" algn="l" defTabSz="685709" rtl="0" eaLnBrk="1" latinLnBrk="0" hangingPunct="1">
      <a:defRPr sz="900" b="0" i="0" kern="1200">
        <a:solidFill>
          <a:schemeClr val="tx1"/>
        </a:solidFill>
        <a:latin typeface="Zurich Sans" panose="02000000000000000000" pitchFamily="2" charset="0"/>
        <a:ea typeface="+mn-ea"/>
        <a:cs typeface="+mn-cs"/>
      </a:defRPr>
    </a:lvl1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Zurich Blue">
    <p:bg>
      <p:bgPr>
        <a:solidFill>
          <a:srgbClr val="2067AD"/>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BADF149-4970-FA49-9E2C-FA297EA714BC}"/>
              </a:ext>
            </a:extLst>
          </p:cNvPr>
          <p:cNvSpPr>
            <a:spLocks noGrp="1"/>
          </p:cNvSpPr>
          <p:nvPr>
            <p:ph type="pic" sz="quarter" idx="12" hasCustomPrompt="1"/>
          </p:nvPr>
        </p:nvSpPr>
        <p:spPr>
          <a:xfrm>
            <a:off x="5358517" y="1351512"/>
            <a:ext cx="3780000" cy="3780000"/>
          </a:xfrm>
          <a:prstGeom prst="ellipse">
            <a:avLst/>
          </a:prstGeom>
        </p:spPr>
        <p:txBody>
          <a:bodyPr/>
          <a:lstStyle>
            <a:lvl1pPr algn="ctr">
              <a:buNone/>
              <a:defRPr>
                <a:solidFill>
                  <a:srgbClr val="FFFFFF"/>
                </a:solidFill>
              </a:defRPr>
            </a:lvl1pPr>
          </a:lstStyle>
          <a:p>
            <a:r>
              <a:rPr lang="en-US" noProof="0" dirty="0"/>
              <a:t>Add a picture here</a:t>
            </a:r>
          </a:p>
        </p:txBody>
      </p:sp>
      <p:sp>
        <p:nvSpPr>
          <p:cNvPr id="12" name="Rectangle 2">
            <a:extLst>
              <a:ext uri="{FF2B5EF4-FFF2-40B4-BE49-F238E27FC236}">
                <a16:creationId xmlns:a16="http://schemas.microsoft.com/office/drawing/2014/main" id="{37124C2F-5E4A-0541-9967-2C71DAF8FAD8}"/>
              </a:ext>
            </a:extLst>
          </p:cNvPr>
          <p:cNvSpPr>
            <a:spLocks noGrp="1" noChangeArrowheads="1"/>
          </p:cNvSpPr>
          <p:nvPr>
            <p:ph type="ctrTitle" hasCustomPrompt="1"/>
          </p:nvPr>
        </p:nvSpPr>
        <p:spPr>
          <a:xfrm>
            <a:off x="250824" y="828675"/>
            <a:ext cx="4886326" cy="1706564"/>
          </a:xfrm>
          <a:prstGeom prst="rect">
            <a:avLst/>
          </a:prstGeom>
          <a:ln/>
        </p:spPr>
        <p:txBody>
          <a:bodyPr anchor="b">
            <a:normAutofit/>
          </a:bodyPr>
          <a:lstStyle>
            <a:lvl1pPr algn="l">
              <a:defRPr sz="2800" b="0" i="0">
                <a:solidFill>
                  <a:srgbClr val="FFFFFF"/>
                </a:solidFill>
                <a:latin typeface="Arial" panose="020B0604020202020204" pitchFamily="34" charset="0"/>
                <a:cs typeface="Arial" panose="020B0604020202020204" pitchFamily="34" charset="0"/>
              </a:defRPr>
            </a:lvl1pPr>
          </a:lstStyle>
          <a:p>
            <a:r>
              <a:rPr lang="en-US" noProof="0" dirty="0"/>
              <a:t>Headline</a:t>
            </a:r>
          </a:p>
        </p:txBody>
      </p:sp>
      <p:sp>
        <p:nvSpPr>
          <p:cNvPr id="15" name="Text Placeholder 13">
            <a:extLst>
              <a:ext uri="{FF2B5EF4-FFF2-40B4-BE49-F238E27FC236}">
                <a16:creationId xmlns:a16="http://schemas.microsoft.com/office/drawing/2014/main" id="{1ADFA514-B78A-2348-9C9F-C8C3CCB16EE3}"/>
              </a:ext>
            </a:extLst>
          </p:cNvPr>
          <p:cNvSpPr>
            <a:spLocks noGrp="1"/>
          </p:cNvSpPr>
          <p:nvPr>
            <p:ph type="body" sz="quarter" idx="11" hasCustomPrompt="1"/>
          </p:nvPr>
        </p:nvSpPr>
        <p:spPr>
          <a:xfrm>
            <a:off x="250825" y="2797400"/>
            <a:ext cx="3631216" cy="692142"/>
          </a:xfrm>
          <a:prstGeom prst="rect">
            <a:avLst/>
          </a:prstGeom>
        </p:spPr>
        <p:txBody>
          <a:bodyPr>
            <a:normAutofit/>
          </a:bodyPr>
          <a:lstStyle>
            <a:lvl1pPr>
              <a:buNone/>
              <a:defRPr sz="1600" b="0" i="0">
                <a:solidFill>
                  <a:srgbClr val="FFFFFF"/>
                </a:solidFill>
                <a:latin typeface="Arial" panose="020B0604020202020204" pitchFamily="34" charset="0"/>
                <a:cs typeface="Arial" panose="020B0604020202020204" pitchFamily="34" charset="0"/>
              </a:defRPr>
            </a:lvl1pPr>
          </a:lstStyle>
          <a:p>
            <a:pPr lvl="0"/>
            <a:r>
              <a:rPr lang="en-US" noProof="0" dirty="0"/>
              <a:t>Subtitle</a:t>
            </a:r>
          </a:p>
        </p:txBody>
      </p:sp>
      <p:sp>
        <p:nvSpPr>
          <p:cNvPr id="16" name="Subtitle 2">
            <a:extLst>
              <a:ext uri="{FF2B5EF4-FFF2-40B4-BE49-F238E27FC236}">
                <a16:creationId xmlns:a16="http://schemas.microsoft.com/office/drawing/2014/main" id="{77D36876-275C-7D41-8ED2-4B3EC61B7514}"/>
              </a:ext>
            </a:extLst>
          </p:cNvPr>
          <p:cNvSpPr>
            <a:spLocks noGrp="1"/>
          </p:cNvSpPr>
          <p:nvPr>
            <p:ph type="subTitle" idx="1" hasCustomPrompt="1"/>
          </p:nvPr>
        </p:nvSpPr>
        <p:spPr>
          <a:xfrm>
            <a:off x="253496" y="3753591"/>
            <a:ext cx="3628555" cy="611706"/>
          </a:xfrm>
          <a:prstGeom prst="rect">
            <a:avLst/>
          </a:prstGeom>
        </p:spPr>
        <p:txBody>
          <a:bodyPr anchor="b">
            <a:normAutofit/>
          </a:bodyPr>
          <a:lstStyle>
            <a:lvl1pPr marL="0" indent="0" algn="l">
              <a:buNone/>
              <a:defRPr sz="1000" b="0" i="0">
                <a:solidFill>
                  <a:srgbClr val="FFFFFF"/>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noProof="0" dirty="0"/>
              <a:t>Date</a:t>
            </a:r>
            <a:br>
              <a:rPr lang="en-US" noProof="0" dirty="0"/>
            </a:br>
            <a:r>
              <a:rPr lang="en-US" noProof="0" dirty="0"/>
              <a:t>Name of moderator</a:t>
            </a:r>
            <a:br>
              <a:rPr lang="en-US" noProof="0" dirty="0"/>
            </a:br>
            <a:r>
              <a:rPr lang="en-US" noProof="0" dirty="0"/>
              <a:t>Organizational Unit</a:t>
            </a:r>
          </a:p>
        </p:txBody>
      </p:sp>
      <p:pic>
        <p:nvPicPr>
          <p:cNvPr id="17" name="Picture 16">
            <a:extLst>
              <a:ext uri="{FF2B5EF4-FFF2-40B4-BE49-F238E27FC236}">
                <a16:creationId xmlns:a16="http://schemas.microsoft.com/office/drawing/2014/main" id="{0F3B6043-1BB6-F943-AB49-CC5193C519C4}"/>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138262" y="119436"/>
            <a:ext cx="1330325" cy="512964"/>
          </a:xfrm>
          <a:prstGeom prst="rect">
            <a:avLst/>
          </a:prstGeom>
        </p:spPr>
      </p:pic>
      <p:sp>
        <p:nvSpPr>
          <p:cNvPr id="8" name="Oval 7">
            <a:extLst>
              <a:ext uri="{FF2B5EF4-FFF2-40B4-BE49-F238E27FC236}">
                <a16:creationId xmlns:a16="http://schemas.microsoft.com/office/drawing/2014/main" id="{255DCF8F-1C9D-2447-B503-4D596278CE99}"/>
              </a:ext>
            </a:extLst>
          </p:cNvPr>
          <p:cNvSpPr/>
          <p:nvPr userDrawn="1"/>
        </p:nvSpPr>
        <p:spPr bwMode="auto">
          <a:xfrm>
            <a:off x="4821081" y="4049542"/>
            <a:ext cx="410956" cy="410612"/>
          </a:xfrm>
          <a:prstGeom prst="ellipse">
            <a:avLst/>
          </a:prstGeom>
          <a:solidFill>
            <a:srgbClr val="23366E"/>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9" name="Freeform 8">
            <a:extLst>
              <a:ext uri="{FF2B5EF4-FFF2-40B4-BE49-F238E27FC236}">
                <a16:creationId xmlns:a16="http://schemas.microsoft.com/office/drawing/2014/main" id="{68C1F379-4581-3A4B-AAEE-FD5814442FD6}"/>
              </a:ext>
            </a:extLst>
          </p:cNvPr>
          <p:cNvSpPr/>
          <p:nvPr userDrawn="1"/>
        </p:nvSpPr>
        <p:spPr bwMode="auto">
          <a:xfrm>
            <a:off x="4443861" y="4462422"/>
            <a:ext cx="1351982" cy="68107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1" name="Freeform 10">
            <a:extLst>
              <a:ext uri="{FF2B5EF4-FFF2-40B4-BE49-F238E27FC236}">
                <a16:creationId xmlns:a16="http://schemas.microsoft.com/office/drawing/2014/main" id="{B0EC1F3F-5F4F-644F-AF0F-BA7C1C647ED5}"/>
              </a:ext>
            </a:extLst>
          </p:cNvPr>
          <p:cNvSpPr/>
          <p:nvPr userDrawn="1"/>
        </p:nvSpPr>
        <p:spPr bwMode="auto">
          <a:xfrm rot="6466589">
            <a:off x="4212770" y="3735101"/>
            <a:ext cx="900884" cy="45371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91BFE3"/>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Tree>
    <p:extLst>
      <p:ext uri="{BB962C8B-B14F-4D97-AF65-F5344CB8AC3E}">
        <p14:creationId xmlns:p14="http://schemas.microsoft.com/office/powerpoint/2010/main" val="1198217892"/>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_images">
    <p:bg>
      <p:bgPr>
        <a:solidFill>
          <a:srgbClr val="FFFFFF"/>
        </a:solidFill>
        <a:effectLst/>
      </p:bgPr>
    </p:bg>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7DEBEC2F-FA09-B844-A248-B671FE9597C9}"/>
              </a:ext>
            </a:extLst>
          </p:cNvPr>
          <p:cNvSpPr>
            <a:spLocks noGrp="1"/>
          </p:cNvSpPr>
          <p:nvPr>
            <p:ph type="body" sz="quarter" idx="19" hasCustomPrompt="1"/>
          </p:nvPr>
        </p:nvSpPr>
        <p:spPr>
          <a:xfrm>
            <a:off x="6515099" y="244475"/>
            <a:ext cx="1127125" cy="295326"/>
          </a:xfrm>
          <a:prstGeom prst="rect">
            <a:avLst/>
          </a:prstGeom>
        </p:spPr>
        <p:txBody>
          <a:bodyPr>
            <a:normAutofit/>
          </a:bodyPr>
          <a:lstStyle>
            <a:lvl1pPr algn="r">
              <a:buNone/>
              <a:defRPr sz="750" b="0" i="0">
                <a:solidFill>
                  <a:srgbClr val="2167AE"/>
                </a:solidFill>
                <a:latin typeface="Arial" panose="020B0604020202020204" pitchFamily="34" charset="0"/>
                <a:cs typeface="Arial" panose="020B0604020202020204" pitchFamily="34" charset="0"/>
              </a:defRPr>
            </a:lvl1pPr>
          </a:lstStyle>
          <a:p>
            <a:pPr lvl="0"/>
            <a:r>
              <a:rPr lang="en-GB" noProof="0" dirty="0"/>
              <a:t>Section name</a:t>
            </a:r>
          </a:p>
        </p:txBody>
      </p:sp>
      <p:sp>
        <p:nvSpPr>
          <p:cNvPr id="2" name="Footer Placeholder 1">
            <a:extLst>
              <a:ext uri="{FF2B5EF4-FFF2-40B4-BE49-F238E27FC236}">
                <a16:creationId xmlns:a16="http://schemas.microsoft.com/office/drawing/2014/main" id="{9170E7EB-598F-754D-AFBC-42F13031A7FC}"/>
              </a:ext>
            </a:extLst>
          </p:cNvPr>
          <p:cNvSpPr>
            <a:spLocks noGrp="1"/>
          </p:cNvSpPr>
          <p:nvPr>
            <p:ph type="ftr" sz="quarter" idx="22"/>
          </p:nvPr>
        </p:nvSpPr>
        <p:spPr/>
        <p:txBody>
          <a:bodyPr/>
          <a:lstStyle>
            <a:lvl1pPr algn="r">
              <a:defRPr>
                <a:solidFill>
                  <a:srgbClr val="2167AE"/>
                </a:solidFill>
              </a:defRPr>
            </a:lvl1pPr>
          </a:lstStyle>
          <a:p>
            <a:endParaRPr lang="en-GB" dirty="0"/>
          </a:p>
        </p:txBody>
      </p:sp>
      <p:sp>
        <p:nvSpPr>
          <p:cNvPr id="6" name="Slide Number Placeholder 5">
            <a:extLst>
              <a:ext uri="{FF2B5EF4-FFF2-40B4-BE49-F238E27FC236}">
                <a16:creationId xmlns:a16="http://schemas.microsoft.com/office/drawing/2014/main" id="{414BC961-BB8E-8D40-B98F-1BEDE10B6BEB}"/>
              </a:ext>
            </a:extLst>
          </p:cNvPr>
          <p:cNvSpPr>
            <a:spLocks noGrp="1"/>
          </p:cNvSpPr>
          <p:nvPr>
            <p:ph type="sldNum" sz="quarter" idx="23"/>
          </p:nvPr>
        </p:nvSpPr>
        <p:spPr>
          <a:xfrm>
            <a:off x="7766050" y="4937922"/>
            <a:ext cx="1127125" cy="145134"/>
          </a:xfrm>
        </p:spPr>
        <p:txBody>
          <a:bodyPr/>
          <a:lstStyle>
            <a:lvl1pPr>
              <a:defRPr>
                <a:solidFill>
                  <a:srgbClr val="2167AE"/>
                </a:solidFill>
              </a:defRPr>
            </a:lvl1pPr>
          </a:lstStyle>
          <a:p>
            <a:fld id="{D691331D-A62F-41F8-BAEC-0A7727B7C525}" type="slidenum">
              <a:rPr lang="en-GB" smtClean="0"/>
              <a:pPr/>
              <a:t>‹#›</a:t>
            </a:fld>
            <a:endParaRPr lang="en-GB" dirty="0"/>
          </a:p>
        </p:txBody>
      </p:sp>
      <p:sp>
        <p:nvSpPr>
          <p:cNvPr id="25" name="Text Placeholder 16">
            <a:extLst>
              <a:ext uri="{FF2B5EF4-FFF2-40B4-BE49-F238E27FC236}">
                <a16:creationId xmlns:a16="http://schemas.microsoft.com/office/drawing/2014/main" id="{8AE44868-9834-9B4A-992C-2174A0339472}"/>
              </a:ext>
            </a:extLst>
          </p:cNvPr>
          <p:cNvSpPr>
            <a:spLocks noGrp="1"/>
          </p:cNvSpPr>
          <p:nvPr>
            <p:ph type="body" sz="quarter" idx="15" hasCustomPrompt="1"/>
          </p:nvPr>
        </p:nvSpPr>
        <p:spPr>
          <a:xfrm>
            <a:off x="250825" y="2535238"/>
            <a:ext cx="2381250" cy="441719"/>
          </a:xfrm>
          <a:prstGeom prst="rect">
            <a:avLst/>
          </a:prstGeom>
        </p:spPr>
        <p:txBody>
          <a:bodyPr anchor="b"/>
          <a:lstStyle>
            <a:lvl1pPr marL="0" indent="0">
              <a:buNone/>
              <a:defRPr sz="1500" b="0" i="0">
                <a:solidFill>
                  <a:srgbClr val="2167AE"/>
                </a:solidFill>
                <a:latin typeface="Arial" panose="020B0604020202020204" pitchFamily="34" charset="0"/>
                <a:cs typeface="Arial" panose="020B0604020202020204" pitchFamily="34" charset="0"/>
              </a:defRPr>
            </a:lvl1pPr>
          </a:lstStyle>
          <a:p>
            <a:pPr lvl="0"/>
            <a:r>
              <a:rPr lang="en-GB" noProof="0" dirty="0"/>
              <a:t>Title here</a:t>
            </a:r>
          </a:p>
        </p:txBody>
      </p:sp>
      <p:sp>
        <p:nvSpPr>
          <p:cNvPr id="26" name="Text Placeholder 16">
            <a:extLst>
              <a:ext uri="{FF2B5EF4-FFF2-40B4-BE49-F238E27FC236}">
                <a16:creationId xmlns:a16="http://schemas.microsoft.com/office/drawing/2014/main" id="{549BCA63-333B-B042-ADB8-A592D4A48DA7}"/>
              </a:ext>
            </a:extLst>
          </p:cNvPr>
          <p:cNvSpPr>
            <a:spLocks noGrp="1"/>
          </p:cNvSpPr>
          <p:nvPr>
            <p:ph type="body" sz="quarter" idx="16" hasCustomPrompt="1"/>
          </p:nvPr>
        </p:nvSpPr>
        <p:spPr>
          <a:xfrm>
            <a:off x="250825" y="3075245"/>
            <a:ext cx="2381250" cy="1706700"/>
          </a:xfrm>
          <a:prstGeom prst="rect">
            <a:avLst/>
          </a:prstGeom>
        </p:spPr>
        <p:txBody>
          <a:bodyPr>
            <a:normAutofit/>
          </a:bodyPr>
          <a:lstStyle>
            <a:lvl1pPr marL="0" indent="0">
              <a:buNone/>
              <a:defRPr sz="1000" b="0" i="0">
                <a:solidFill>
                  <a:srgbClr val="2167AE"/>
                </a:solidFill>
                <a:latin typeface="Arial" panose="020B0604020202020204" pitchFamily="34" charset="0"/>
                <a:cs typeface="Arial" panose="020B0604020202020204" pitchFamily="34" charset="0"/>
              </a:defRPr>
            </a:lvl1pPr>
          </a:lstStyle>
          <a:p>
            <a:pPr lvl="0"/>
            <a:r>
              <a:rPr lang="en-GB" noProof="0" dirty="0"/>
              <a:t>Add your text here.</a:t>
            </a:r>
          </a:p>
        </p:txBody>
      </p:sp>
      <p:sp>
        <p:nvSpPr>
          <p:cNvPr id="27" name="Text Placeholder 16">
            <a:extLst>
              <a:ext uri="{FF2B5EF4-FFF2-40B4-BE49-F238E27FC236}">
                <a16:creationId xmlns:a16="http://schemas.microsoft.com/office/drawing/2014/main" id="{1FBF4AD1-8EB6-544D-B27C-7245F4F19A66}"/>
              </a:ext>
            </a:extLst>
          </p:cNvPr>
          <p:cNvSpPr>
            <a:spLocks noGrp="1"/>
          </p:cNvSpPr>
          <p:nvPr>
            <p:ph type="body" sz="quarter" idx="24" hasCustomPrompt="1"/>
          </p:nvPr>
        </p:nvSpPr>
        <p:spPr>
          <a:xfrm>
            <a:off x="3383639" y="2535238"/>
            <a:ext cx="2381250" cy="441719"/>
          </a:xfrm>
          <a:prstGeom prst="rect">
            <a:avLst/>
          </a:prstGeom>
        </p:spPr>
        <p:txBody>
          <a:bodyPr anchor="b"/>
          <a:lstStyle>
            <a:lvl1pPr marL="0" indent="0">
              <a:buNone/>
              <a:defRPr sz="1500" b="0" i="0">
                <a:solidFill>
                  <a:srgbClr val="2167AE"/>
                </a:solidFill>
                <a:latin typeface="Arial" panose="020B0604020202020204" pitchFamily="34" charset="0"/>
                <a:cs typeface="Arial" panose="020B0604020202020204" pitchFamily="34" charset="0"/>
              </a:defRPr>
            </a:lvl1pPr>
          </a:lstStyle>
          <a:p>
            <a:pPr lvl="0"/>
            <a:r>
              <a:rPr lang="en-GB" noProof="0" dirty="0"/>
              <a:t>Title here</a:t>
            </a:r>
          </a:p>
        </p:txBody>
      </p:sp>
      <p:sp>
        <p:nvSpPr>
          <p:cNvPr id="28" name="Text Placeholder 16">
            <a:extLst>
              <a:ext uri="{FF2B5EF4-FFF2-40B4-BE49-F238E27FC236}">
                <a16:creationId xmlns:a16="http://schemas.microsoft.com/office/drawing/2014/main" id="{172099E0-6023-0948-BDDE-92DD61BEF262}"/>
              </a:ext>
            </a:extLst>
          </p:cNvPr>
          <p:cNvSpPr>
            <a:spLocks noGrp="1"/>
          </p:cNvSpPr>
          <p:nvPr>
            <p:ph type="body" sz="quarter" idx="25" hasCustomPrompt="1"/>
          </p:nvPr>
        </p:nvSpPr>
        <p:spPr>
          <a:xfrm>
            <a:off x="3383639" y="3075245"/>
            <a:ext cx="2381250" cy="1706700"/>
          </a:xfrm>
          <a:prstGeom prst="rect">
            <a:avLst/>
          </a:prstGeom>
        </p:spPr>
        <p:txBody>
          <a:bodyPr>
            <a:normAutofit/>
          </a:bodyPr>
          <a:lstStyle>
            <a:lvl1pPr marL="0" indent="0">
              <a:buNone/>
              <a:defRPr sz="1000" b="0" i="0">
                <a:solidFill>
                  <a:srgbClr val="2167AE"/>
                </a:solidFill>
                <a:latin typeface="Arial" panose="020B0604020202020204" pitchFamily="34" charset="0"/>
                <a:cs typeface="Arial" panose="020B0604020202020204" pitchFamily="34" charset="0"/>
              </a:defRPr>
            </a:lvl1pPr>
          </a:lstStyle>
          <a:p>
            <a:pPr lvl="0"/>
            <a:r>
              <a:rPr lang="en-GB" noProof="0" dirty="0"/>
              <a:t>Add your text here.</a:t>
            </a:r>
          </a:p>
        </p:txBody>
      </p:sp>
      <p:sp>
        <p:nvSpPr>
          <p:cNvPr id="29" name="Text Placeholder 16">
            <a:extLst>
              <a:ext uri="{FF2B5EF4-FFF2-40B4-BE49-F238E27FC236}">
                <a16:creationId xmlns:a16="http://schemas.microsoft.com/office/drawing/2014/main" id="{BC5BE7BC-72B2-CF43-887D-C3965DCD7E08}"/>
              </a:ext>
            </a:extLst>
          </p:cNvPr>
          <p:cNvSpPr>
            <a:spLocks noGrp="1"/>
          </p:cNvSpPr>
          <p:nvPr>
            <p:ph type="body" sz="quarter" idx="26" hasCustomPrompt="1"/>
          </p:nvPr>
        </p:nvSpPr>
        <p:spPr>
          <a:xfrm>
            <a:off x="6516453" y="2535238"/>
            <a:ext cx="2381250" cy="441719"/>
          </a:xfrm>
          <a:prstGeom prst="rect">
            <a:avLst/>
          </a:prstGeom>
        </p:spPr>
        <p:txBody>
          <a:bodyPr anchor="b"/>
          <a:lstStyle>
            <a:lvl1pPr marL="0" indent="0">
              <a:buNone/>
              <a:defRPr sz="1500" b="0" i="0">
                <a:solidFill>
                  <a:srgbClr val="2167AE"/>
                </a:solidFill>
                <a:latin typeface="Arial" panose="020B0604020202020204" pitchFamily="34" charset="0"/>
                <a:cs typeface="Arial" panose="020B0604020202020204" pitchFamily="34" charset="0"/>
              </a:defRPr>
            </a:lvl1pPr>
          </a:lstStyle>
          <a:p>
            <a:pPr lvl="0"/>
            <a:r>
              <a:rPr lang="en-GB" noProof="0" dirty="0"/>
              <a:t>Title here</a:t>
            </a:r>
          </a:p>
        </p:txBody>
      </p:sp>
      <p:sp>
        <p:nvSpPr>
          <p:cNvPr id="30" name="Text Placeholder 16">
            <a:extLst>
              <a:ext uri="{FF2B5EF4-FFF2-40B4-BE49-F238E27FC236}">
                <a16:creationId xmlns:a16="http://schemas.microsoft.com/office/drawing/2014/main" id="{F07E3F97-4B4F-044D-923D-DD7CCACD5EA4}"/>
              </a:ext>
            </a:extLst>
          </p:cNvPr>
          <p:cNvSpPr>
            <a:spLocks noGrp="1"/>
          </p:cNvSpPr>
          <p:nvPr>
            <p:ph type="body" sz="quarter" idx="27" hasCustomPrompt="1"/>
          </p:nvPr>
        </p:nvSpPr>
        <p:spPr>
          <a:xfrm>
            <a:off x="6516453" y="3075245"/>
            <a:ext cx="2381250" cy="1706700"/>
          </a:xfrm>
          <a:prstGeom prst="rect">
            <a:avLst/>
          </a:prstGeom>
        </p:spPr>
        <p:txBody>
          <a:bodyPr>
            <a:normAutofit/>
          </a:bodyPr>
          <a:lstStyle>
            <a:lvl1pPr marL="0" indent="0">
              <a:buNone/>
              <a:defRPr sz="1000" b="0" i="0">
                <a:solidFill>
                  <a:srgbClr val="2167AE"/>
                </a:solidFill>
                <a:latin typeface="Arial" panose="020B0604020202020204" pitchFamily="34" charset="0"/>
                <a:cs typeface="Arial" panose="020B0604020202020204" pitchFamily="34" charset="0"/>
              </a:defRPr>
            </a:lvl1pPr>
          </a:lstStyle>
          <a:p>
            <a:pPr lvl="0"/>
            <a:r>
              <a:rPr lang="en-GB" noProof="0" dirty="0"/>
              <a:t>Add your text here.</a:t>
            </a:r>
          </a:p>
        </p:txBody>
      </p:sp>
      <p:sp>
        <p:nvSpPr>
          <p:cNvPr id="4" name="Picture Placeholder 3">
            <a:extLst>
              <a:ext uri="{FF2B5EF4-FFF2-40B4-BE49-F238E27FC236}">
                <a16:creationId xmlns:a16="http://schemas.microsoft.com/office/drawing/2014/main" id="{4F20BE1C-A41B-5449-A794-A9114FD73BD2}"/>
              </a:ext>
            </a:extLst>
          </p:cNvPr>
          <p:cNvSpPr>
            <a:spLocks noGrp="1"/>
          </p:cNvSpPr>
          <p:nvPr>
            <p:ph type="pic" sz="quarter" idx="28" hasCustomPrompt="1"/>
          </p:nvPr>
        </p:nvSpPr>
        <p:spPr>
          <a:xfrm>
            <a:off x="721450" y="942764"/>
            <a:ext cx="1440000" cy="1440000"/>
          </a:xfrm>
          <a:prstGeom prst="ellipse">
            <a:avLst/>
          </a:prstGeom>
        </p:spPr>
        <p:txBody>
          <a:bodyPr/>
          <a:lstStyle>
            <a:lvl1pPr algn="ctr">
              <a:defRPr sz="1000">
                <a:solidFill>
                  <a:srgbClr val="2167AE"/>
                </a:solidFill>
              </a:defRPr>
            </a:lvl1pPr>
          </a:lstStyle>
          <a:p>
            <a:r>
              <a:rPr lang="en-GB" dirty="0"/>
              <a:t>Add picture here</a:t>
            </a:r>
          </a:p>
        </p:txBody>
      </p:sp>
      <p:sp>
        <p:nvSpPr>
          <p:cNvPr id="31" name="Picture Placeholder 3">
            <a:extLst>
              <a:ext uri="{FF2B5EF4-FFF2-40B4-BE49-F238E27FC236}">
                <a16:creationId xmlns:a16="http://schemas.microsoft.com/office/drawing/2014/main" id="{56F63CDF-9E8B-B840-AF41-B17F973208B2}"/>
              </a:ext>
            </a:extLst>
          </p:cNvPr>
          <p:cNvSpPr>
            <a:spLocks noGrp="1"/>
          </p:cNvSpPr>
          <p:nvPr>
            <p:ph type="pic" sz="quarter" idx="29" hasCustomPrompt="1"/>
          </p:nvPr>
        </p:nvSpPr>
        <p:spPr>
          <a:xfrm>
            <a:off x="3852000" y="942764"/>
            <a:ext cx="1440000" cy="1440000"/>
          </a:xfrm>
          <a:prstGeom prst="ellipse">
            <a:avLst/>
          </a:prstGeom>
        </p:spPr>
        <p:txBody>
          <a:bodyPr/>
          <a:lstStyle>
            <a:lvl1pPr algn="ctr">
              <a:defRPr sz="1000">
                <a:solidFill>
                  <a:srgbClr val="2167AE"/>
                </a:solidFill>
              </a:defRPr>
            </a:lvl1pPr>
          </a:lstStyle>
          <a:p>
            <a:r>
              <a:rPr lang="en-GB" dirty="0"/>
              <a:t>Add picture here</a:t>
            </a:r>
          </a:p>
        </p:txBody>
      </p:sp>
      <p:sp>
        <p:nvSpPr>
          <p:cNvPr id="32" name="Picture Placeholder 3">
            <a:extLst>
              <a:ext uri="{FF2B5EF4-FFF2-40B4-BE49-F238E27FC236}">
                <a16:creationId xmlns:a16="http://schemas.microsoft.com/office/drawing/2014/main" id="{B71D0B60-6943-7A40-9D0B-39D3CE71E230}"/>
              </a:ext>
            </a:extLst>
          </p:cNvPr>
          <p:cNvSpPr>
            <a:spLocks noGrp="1"/>
          </p:cNvSpPr>
          <p:nvPr>
            <p:ph type="pic" sz="quarter" idx="30" hasCustomPrompt="1"/>
          </p:nvPr>
        </p:nvSpPr>
        <p:spPr>
          <a:xfrm>
            <a:off x="6987078" y="942764"/>
            <a:ext cx="1440000" cy="1440000"/>
          </a:xfrm>
          <a:prstGeom prst="ellipse">
            <a:avLst/>
          </a:prstGeom>
        </p:spPr>
        <p:txBody>
          <a:bodyPr/>
          <a:lstStyle>
            <a:lvl1pPr algn="ctr">
              <a:defRPr sz="1000">
                <a:solidFill>
                  <a:srgbClr val="2167AE"/>
                </a:solidFill>
              </a:defRPr>
            </a:lvl1pPr>
          </a:lstStyle>
          <a:p>
            <a:r>
              <a:rPr lang="en-GB" dirty="0"/>
              <a:t>Add picture here</a:t>
            </a:r>
          </a:p>
        </p:txBody>
      </p:sp>
      <p:pic>
        <p:nvPicPr>
          <p:cNvPr id="16" name="Picture 15">
            <a:extLst>
              <a:ext uri="{FF2B5EF4-FFF2-40B4-BE49-F238E27FC236}">
                <a16:creationId xmlns:a16="http://schemas.microsoft.com/office/drawing/2014/main" id="{B0D97B12-D0C4-7045-86C4-023A75C483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42225" y="119436"/>
            <a:ext cx="1330325" cy="512964"/>
          </a:xfrm>
          <a:prstGeom prst="rect">
            <a:avLst/>
          </a:prstGeom>
        </p:spPr>
      </p:pic>
      <p:sp>
        <p:nvSpPr>
          <p:cNvPr id="18" name="Subtitle 2">
            <a:extLst>
              <a:ext uri="{FF2B5EF4-FFF2-40B4-BE49-F238E27FC236}">
                <a16:creationId xmlns:a16="http://schemas.microsoft.com/office/drawing/2014/main" id="{03DEC543-DD69-4210-A6CE-75427B148B8A}"/>
              </a:ext>
            </a:extLst>
          </p:cNvPr>
          <p:cNvSpPr>
            <a:spLocks noGrp="1"/>
          </p:cNvSpPr>
          <p:nvPr>
            <p:ph type="subTitle" idx="13" hasCustomPrompt="1"/>
          </p:nvPr>
        </p:nvSpPr>
        <p:spPr>
          <a:xfrm>
            <a:off x="250825" y="538553"/>
            <a:ext cx="6142037" cy="191697"/>
          </a:xfrm>
          <a:prstGeom prst="rect">
            <a:avLst/>
          </a:prstGeom>
        </p:spPr>
        <p:txBody>
          <a:bodyPr anchor="t">
            <a:normAutofit/>
          </a:bodyPr>
          <a:lstStyle>
            <a:lvl1pPr marL="0" indent="0" algn="l">
              <a:buNone/>
              <a:defRPr sz="1200" b="0" i="0">
                <a:solidFill>
                  <a:srgbClr val="2167AE"/>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GB" noProof="0" dirty="0"/>
              <a:t>Subtitle goes here</a:t>
            </a:r>
          </a:p>
        </p:txBody>
      </p:sp>
      <p:sp>
        <p:nvSpPr>
          <p:cNvPr id="19" name="Title 4">
            <a:extLst>
              <a:ext uri="{FF2B5EF4-FFF2-40B4-BE49-F238E27FC236}">
                <a16:creationId xmlns:a16="http://schemas.microsoft.com/office/drawing/2014/main" id="{C249803B-0E3B-4A5E-87D3-E3EB7B491E3F}"/>
              </a:ext>
            </a:extLst>
          </p:cNvPr>
          <p:cNvSpPr>
            <a:spLocks noGrp="1"/>
          </p:cNvSpPr>
          <p:nvPr>
            <p:ph type="title" hasCustomPrompt="1"/>
          </p:nvPr>
        </p:nvSpPr>
        <p:spPr>
          <a:xfrm>
            <a:off x="250825" y="244475"/>
            <a:ext cx="6142037" cy="285750"/>
          </a:xfrm>
          <a:prstGeom prst="rect">
            <a:avLst/>
          </a:prstGeom>
        </p:spPr>
        <p:txBody>
          <a:bodyPr anchor="t"/>
          <a:lstStyle>
            <a:lvl1pPr>
              <a:defRPr>
                <a:solidFill>
                  <a:srgbClr val="2167AE"/>
                </a:solidFill>
              </a:defRPr>
            </a:lvl1pPr>
          </a:lstStyle>
          <a:p>
            <a:r>
              <a:rPr lang="en-GB" noProof="0"/>
              <a:t>Add title here</a:t>
            </a:r>
          </a:p>
        </p:txBody>
      </p:sp>
    </p:spTree>
    <p:extLst>
      <p:ext uri="{BB962C8B-B14F-4D97-AF65-F5344CB8AC3E}">
        <p14:creationId xmlns:p14="http://schemas.microsoft.com/office/powerpoint/2010/main" val="42400669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_one box">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4ABEA1-3192-4282-914B-4FC6BF818ECF}"/>
              </a:ext>
            </a:extLst>
          </p:cNvPr>
          <p:cNvGraphicFramePr>
            <a:graphicFrameLocks noChangeAspect="1"/>
          </p:cNvGraphicFramePr>
          <p:nvPr userDrawn="1">
            <p:custDataLst>
              <p:tags r:id="rId1"/>
            </p:custDataLst>
            <p:extLst>
              <p:ext uri="{D42A27DB-BD31-4B8C-83A1-F6EECF244321}">
                <p14:modId xmlns:p14="http://schemas.microsoft.com/office/powerpoint/2010/main" val="81922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Object 3" hidden="1">
                        <a:extLst>
                          <a:ext uri="{FF2B5EF4-FFF2-40B4-BE49-F238E27FC236}">
                            <a16:creationId xmlns:a16="http://schemas.microsoft.com/office/drawing/2014/main" id="{9E4ABEA1-3192-4282-914B-4FC6BF818E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ubtitle 2">
            <a:extLst>
              <a:ext uri="{FF2B5EF4-FFF2-40B4-BE49-F238E27FC236}">
                <a16:creationId xmlns:a16="http://schemas.microsoft.com/office/drawing/2014/main" id="{EBEC7CCE-A39D-4C41-B1AA-B285B26D9952}"/>
              </a:ext>
            </a:extLst>
          </p:cNvPr>
          <p:cNvSpPr>
            <a:spLocks noGrp="1"/>
          </p:cNvSpPr>
          <p:nvPr>
            <p:ph type="subTitle" idx="13" hasCustomPrompt="1"/>
          </p:nvPr>
        </p:nvSpPr>
        <p:spPr>
          <a:xfrm>
            <a:off x="250825" y="538553"/>
            <a:ext cx="7450455" cy="191697"/>
          </a:xfrm>
          <a:prstGeom prst="rect">
            <a:avLst/>
          </a:prstGeom>
        </p:spPr>
        <p:txBody>
          <a:bodyPr anchor="t">
            <a:noAutofit/>
          </a:bodyPr>
          <a:lstStyle>
            <a:lvl1pPr marL="0" indent="0" algn="l">
              <a:buNone/>
              <a:defRPr sz="1200" b="0" i="0">
                <a:solidFill>
                  <a:srgbClr val="2167AE"/>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GB" noProof="0" dirty="0"/>
              <a:t>Subtitle goes here</a:t>
            </a:r>
          </a:p>
        </p:txBody>
      </p:sp>
      <p:sp>
        <p:nvSpPr>
          <p:cNvPr id="5" name="Title 4">
            <a:extLst>
              <a:ext uri="{FF2B5EF4-FFF2-40B4-BE49-F238E27FC236}">
                <a16:creationId xmlns:a16="http://schemas.microsoft.com/office/drawing/2014/main" id="{47736004-DEE1-EA44-A367-43336F87EDA5}"/>
              </a:ext>
            </a:extLst>
          </p:cNvPr>
          <p:cNvSpPr>
            <a:spLocks noGrp="1"/>
          </p:cNvSpPr>
          <p:nvPr>
            <p:ph type="title" hasCustomPrompt="1"/>
          </p:nvPr>
        </p:nvSpPr>
        <p:spPr>
          <a:xfrm>
            <a:off x="250825" y="244475"/>
            <a:ext cx="7450455" cy="294078"/>
          </a:xfrm>
          <a:prstGeom prst="rect">
            <a:avLst/>
          </a:prstGeom>
        </p:spPr>
        <p:txBody>
          <a:bodyPr vert="horz" anchor="t">
            <a:normAutofit/>
          </a:bodyPr>
          <a:lstStyle>
            <a:lvl1pPr>
              <a:defRPr>
                <a:solidFill>
                  <a:srgbClr val="2167AE"/>
                </a:solidFill>
              </a:defRPr>
            </a:lvl1pPr>
          </a:lstStyle>
          <a:p>
            <a:r>
              <a:rPr lang="en-GB" noProof="0" dirty="0"/>
              <a:t>Add title here</a:t>
            </a:r>
          </a:p>
        </p:txBody>
      </p:sp>
      <p:sp>
        <p:nvSpPr>
          <p:cNvPr id="2" name="Footer Placeholder 1">
            <a:extLst>
              <a:ext uri="{FF2B5EF4-FFF2-40B4-BE49-F238E27FC236}">
                <a16:creationId xmlns:a16="http://schemas.microsoft.com/office/drawing/2014/main" id="{910EC3A2-833D-B34A-8519-327DC26231F0}"/>
              </a:ext>
            </a:extLst>
          </p:cNvPr>
          <p:cNvSpPr>
            <a:spLocks noGrp="1"/>
          </p:cNvSpPr>
          <p:nvPr>
            <p:ph type="ftr" sz="quarter" idx="22"/>
          </p:nvPr>
        </p:nvSpPr>
        <p:spPr/>
        <p:txBody>
          <a:bodyPr/>
          <a:lstStyle>
            <a:lvl1pPr algn="r">
              <a:defRPr>
                <a:solidFill>
                  <a:srgbClr val="2167AE"/>
                </a:solidFill>
              </a:defRPr>
            </a:lvl1pPr>
          </a:lstStyle>
          <a:p>
            <a:endParaRPr lang="en-GB" dirty="0"/>
          </a:p>
        </p:txBody>
      </p:sp>
      <p:sp>
        <p:nvSpPr>
          <p:cNvPr id="6" name="Slide Number Placeholder 5">
            <a:extLst>
              <a:ext uri="{FF2B5EF4-FFF2-40B4-BE49-F238E27FC236}">
                <a16:creationId xmlns:a16="http://schemas.microsoft.com/office/drawing/2014/main" id="{728A3554-0C44-3B47-BD3B-F8AF6A7272B3}"/>
              </a:ext>
            </a:extLst>
          </p:cNvPr>
          <p:cNvSpPr>
            <a:spLocks noGrp="1"/>
          </p:cNvSpPr>
          <p:nvPr>
            <p:ph type="sldNum" sz="quarter" idx="23"/>
          </p:nvPr>
        </p:nvSpPr>
        <p:spPr>
          <a:xfrm>
            <a:off x="7766050" y="4937922"/>
            <a:ext cx="1127125" cy="145134"/>
          </a:xfrm>
        </p:spPr>
        <p:txBody>
          <a:bodyPr/>
          <a:lstStyle>
            <a:lvl1pPr>
              <a:defRPr>
                <a:solidFill>
                  <a:srgbClr val="2167AE"/>
                </a:solidFill>
              </a:defRPr>
            </a:lvl1pPr>
          </a:lstStyle>
          <a:p>
            <a:fld id="{D691331D-A62F-41F8-BAEC-0A7727B7C525}" type="slidenum">
              <a:rPr lang="en-GB" smtClean="0"/>
              <a:pPr/>
              <a:t>‹#›</a:t>
            </a:fld>
            <a:endParaRPr lang="en-GB" dirty="0"/>
          </a:p>
        </p:txBody>
      </p:sp>
      <p:pic>
        <p:nvPicPr>
          <p:cNvPr id="11" name="Picture 10">
            <a:extLst>
              <a:ext uri="{FF2B5EF4-FFF2-40B4-BE49-F238E27FC236}">
                <a16:creationId xmlns:a16="http://schemas.microsoft.com/office/drawing/2014/main" id="{758A01C2-7969-CF4F-B496-74547ADF163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42225" y="119436"/>
            <a:ext cx="1330325" cy="512964"/>
          </a:xfrm>
          <a:prstGeom prst="rect">
            <a:avLst/>
          </a:prstGeom>
        </p:spPr>
      </p:pic>
    </p:spTree>
    <p:extLst>
      <p:ext uri="{BB962C8B-B14F-4D97-AF65-F5344CB8AC3E}">
        <p14:creationId xmlns:p14="http://schemas.microsoft.com/office/powerpoint/2010/main" val="33928450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image_table etc">
    <p:bg>
      <p:bgPr>
        <a:solidFill>
          <a:srgbClr val="DDE4E3"/>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550AD41-FA64-4C59-8A37-22FCE5572A7A}"/>
              </a:ext>
            </a:extLst>
          </p:cNvPr>
          <p:cNvGraphicFramePr>
            <a:graphicFrameLocks noChangeAspect="1"/>
          </p:cNvGraphicFramePr>
          <p:nvPr userDrawn="1">
            <p:custDataLst>
              <p:tags r:id="rId1"/>
            </p:custDataLst>
            <p:extLst>
              <p:ext uri="{D42A27DB-BD31-4B8C-83A1-F6EECF244321}">
                <p14:modId xmlns:p14="http://schemas.microsoft.com/office/powerpoint/2010/main" val="1887295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4550AD41-FA64-4C59-8A37-22FCE5572A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4E5769-963A-1E4C-9183-8C898DF4FC4E}"/>
              </a:ext>
            </a:extLst>
          </p:cNvPr>
          <p:cNvSpPr>
            <a:spLocks noGrp="1"/>
          </p:cNvSpPr>
          <p:nvPr>
            <p:ph type="title" hasCustomPrompt="1"/>
          </p:nvPr>
        </p:nvSpPr>
        <p:spPr>
          <a:xfrm>
            <a:off x="250825" y="244475"/>
            <a:ext cx="7391399" cy="285750"/>
          </a:xfrm>
          <a:prstGeom prst="rect">
            <a:avLst/>
          </a:prstGeom>
        </p:spPr>
        <p:txBody>
          <a:bodyPr vert="horz" lIns="0" anchor="t"/>
          <a:lstStyle>
            <a:lvl1pPr>
              <a:defRPr b="0" i="0">
                <a:solidFill>
                  <a:srgbClr val="2167AE"/>
                </a:solidFill>
                <a:latin typeface="Arial" panose="020B0604020202020204" pitchFamily="34" charset="0"/>
                <a:cs typeface="Arial" panose="020B0604020202020204" pitchFamily="34" charset="0"/>
              </a:defRPr>
            </a:lvl1pPr>
          </a:lstStyle>
          <a:p>
            <a:r>
              <a:rPr lang="en-GB" noProof="0" dirty="0"/>
              <a:t>Add title here</a:t>
            </a:r>
          </a:p>
        </p:txBody>
      </p:sp>
      <p:sp>
        <p:nvSpPr>
          <p:cNvPr id="5" name="Footer Placeholder 4">
            <a:extLst>
              <a:ext uri="{FF2B5EF4-FFF2-40B4-BE49-F238E27FC236}">
                <a16:creationId xmlns:a16="http://schemas.microsoft.com/office/drawing/2014/main" id="{7576DE17-B41F-F94E-8417-AABA2A9152F7}"/>
              </a:ext>
            </a:extLst>
          </p:cNvPr>
          <p:cNvSpPr>
            <a:spLocks noGrp="1"/>
          </p:cNvSpPr>
          <p:nvPr>
            <p:ph type="ftr" sz="quarter" idx="16"/>
          </p:nvPr>
        </p:nvSpPr>
        <p:spPr/>
        <p:txBody>
          <a:bodyPr/>
          <a:lstStyle>
            <a:lvl1pPr algn="r">
              <a:defRPr>
                <a:solidFill>
                  <a:srgbClr val="2167AE"/>
                </a:solidFill>
              </a:defRPr>
            </a:lvl1pPr>
          </a:lstStyle>
          <a:p>
            <a:endParaRPr lang="en-GB" dirty="0"/>
          </a:p>
        </p:txBody>
      </p:sp>
      <p:sp>
        <p:nvSpPr>
          <p:cNvPr id="7" name="Slide Number Placeholder 6">
            <a:extLst>
              <a:ext uri="{FF2B5EF4-FFF2-40B4-BE49-F238E27FC236}">
                <a16:creationId xmlns:a16="http://schemas.microsoft.com/office/drawing/2014/main" id="{DBFE40F3-EF7C-CF47-84EA-47BCB129D9F5}"/>
              </a:ext>
            </a:extLst>
          </p:cNvPr>
          <p:cNvSpPr>
            <a:spLocks noGrp="1"/>
          </p:cNvSpPr>
          <p:nvPr>
            <p:ph type="sldNum" sz="quarter" idx="17"/>
          </p:nvPr>
        </p:nvSpPr>
        <p:spPr/>
        <p:txBody>
          <a:bodyPr/>
          <a:lstStyle>
            <a:lvl1pPr>
              <a:defRPr>
                <a:solidFill>
                  <a:srgbClr val="2167AE"/>
                </a:solidFill>
              </a:defRPr>
            </a:lvl1pPr>
          </a:lstStyle>
          <a:p>
            <a:fld id="{D691331D-A62F-41F8-BAEC-0A7727B7C525}" type="slidenum">
              <a:rPr lang="en-GB" smtClean="0"/>
              <a:pPr/>
              <a:t>‹#›</a:t>
            </a:fld>
            <a:endParaRPr lang="en-GB" dirty="0"/>
          </a:p>
        </p:txBody>
      </p:sp>
      <p:pic>
        <p:nvPicPr>
          <p:cNvPr id="8" name="Picture 7">
            <a:extLst>
              <a:ext uri="{FF2B5EF4-FFF2-40B4-BE49-F238E27FC236}">
                <a16:creationId xmlns:a16="http://schemas.microsoft.com/office/drawing/2014/main" id="{2B26F0D8-5E9E-2A4B-88B7-3CE5BEAD04F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42225" y="119436"/>
            <a:ext cx="1330325" cy="512964"/>
          </a:xfrm>
          <a:prstGeom prst="rect">
            <a:avLst/>
          </a:prstGeom>
        </p:spPr>
      </p:pic>
      <p:sp>
        <p:nvSpPr>
          <p:cNvPr id="4" name="Content Placeholder 3">
            <a:extLst>
              <a:ext uri="{FF2B5EF4-FFF2-40B4-BE49-F238E27FC236}">
                <a16:creationId xmlns:a16="http://schemas.microsoft.com/office/drawing/2014/main" id="{2AF3AD51-F82E-4C8D-A78E-35C96A3605C4}"/>
              </a:ext>
            </a:extLst>
          </p:cNvPr>
          <p:cNvSpPr>
            <a:spLocks noGrp="1"/>
          </p:cNvSpPr>
          <p:nvPr>
            <p:ph sz="quarter" idx="18" hasCustomPrompt="1"/>
          </p:nvPr>
        </p:nvSpPr>
        <p:spPr>
          <a:xfrm>
            <a:off x="252000" y="844958"/>
            <a:ext cx="4320000" cy="3939385"/>
          </a:xfrm>
        </p:spPr>
        <p:txBody>
          <a:bodyPr/>
          <a:lstStyle>
            <a:lvl1pPr>
              <a:defRPr/>
            </a:lvl1pPr>
            <a:lvl2pPr marL="339283" indent="-135713">
              <a:buSzPct val="120000"/>
              <a:buFont typeface="Arial" panose="020B0604020202020204" pitchFamily="34" charset="0"/>
              <a:buChar char="•"/>
              <a:defRPr/>
            </a:lvl2pPr>
            <a:lvl3pPr marL="534520" indent="-127380">
              <a:buFont typeface="Arial" panose="020B0604020202020204" pitchFamily="34" charset="0"/>
              <a:buChar char="−"/>
              <a:defRPr/>
            </a:lvl3pPr>
            <a:lvl4pPr marL="739280" indent="-133332">
              <a:buFont typeface="Arial" panose="020B0604020202020204" pitchFamily="34" charset="0"/>
              <a:buChar char="−"/>
              <a:defRPr/>
            </a:lvl4pPr>
            <a:lvl5pPr marL="934516" indent="-128570">
              <a:buFont typeface="Arial" panose="020B0604020202020204" pitchFamily="34" charset="0"/>
              <a:buChar char="−"/>
              <a:defRPr/>
            </a:lvl5pPr>
          </a:lstStyle>
          <a:p>
            <a:pPr lvl="0"/>
            <a:r>
              <a:rPr lang="en-US" dirty="0"/>
              <a:t>Add text, table, chart, image etc.</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2">
            <a:extLst>
              <a:ext uri="{FF2B5EF4-FFF2-40B4-BE49-F238E27FC236}">
                <a16:creationId xmlns:a16="http://schemas.microsoft.com/office/drawing/2014/main" id="{3278B13A-90F2-45BA-8493-4884B8C7A7E8}"/>
              </a:ext>
            </a:extLst>
          </p:cNvPr>
          <p:cNvSpPr>
            <a:spLocks noGrp="1" noChangeAspect="1"/>
          </p:cNvSpPr>
          <p:nvPr>
            <p:ph type="pic" sz="quarter" idx="12" hasCustomPrompt="1"/>
          </p:nvPr>
        </p:nvSpPr>
        <p:spPr>
          <a:xfrm>
            <a:off x="5267102" y="1000370"/>
            <a:ext cx="3624898" cy="3624898"/>
          </a:xfrm>
          <a:prstGeom prst="ellipse">
            <a:avLst/>
          </a:prstGeom>
        </p:spPr>
        <p:txBody>
          <a:bodyPr/>
          <a:lstStyle>
            <a:lvl1pPr algn="ctr">
              <a:buNone/>
              <a:defRPr>
                <a:solidFill>
                  <a:srgbClr val="FFFFFF"/>
                </a:solidFill>
              </a:defRPr>
            </a:lvl1pPr>
          </a:lstStyle>
          <a:p>
            <a:r>
              <a:rPr lang="en-US" noProof="0" dirty="0"/>
              <a:t>Add a picture here</a:t>
            </a:r>
          </a:p>
        </p:txBody>
      </p:sp>
    </p:spTree>
    <p:extLst>
      <p:ext uri="{BB962C8B-B14F-4D97-AF65-F5344CB8AC3E}">
        <p14:creationId xmlns:p14="http://schemas.microsoft.com/office/powerpoint/2010/main" val="4062202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_image_table etc">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550AD41-FA64-4C59-8A37-22FCE5572A7A}"/>
              </a:ext>
            </a:extLst>
          </p:cNvPr>
          <p:cNvGraphicFramePr>
            <a:graphicFrameLocks noChangeAspect="1"/>
          </p:cNvGraphicFramePr>
          <p:nvPr userDrawn="1">
            <p:custDataLst>
              <p:tags r:id="rId1"/>
            </p:custDataLst>
            <p:extLst>
              <p:ext uri="{D42A27DB-BD31-4B8C-83A1-F6EECF244321}">
                <p14:modId xmlns:p14="http://schemas.microsoft.com/office/powerpoint/2010/main" val="593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4550AD41-FA64-4C59-8A37-22FCE5572A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7576DE17-B41F-F94E-8417-AABA2A9152F7}"/>
              </a:ext>
            </a:extLst>
          </p:cNvPr>
          <p:cNvSpPr>
            <a:spLocks noGrp="1"/>
          </p:cNvSpPr>
          <p:nvPr>
            <p:ph type="ftr" sz="quarter" idx="16"/>
          </p:nvPr>
        </p:nvSpPr>
        <p:spPr/>
        <p:txBody>
          <a:bodyPr/>
          <a:lstStyle>
            <a:lvl1pPr algn="r">
              <a:defRPr>
                <a:solidFill>
                  <a:srgbClr val="2167AE"/>
                </a:solidFill>
              </a:defRPr>
            </a:lvl1pPr>
          </a:lstStyle>
          <a:p>
            <a:endParaRPr lang="en-GB" dirty="0"/>
          </a:p>
        </p:txBody>
      </p:sp>
      <p:sp>
        <p:nvSpPr>
          <p:cNvPr id="7" name="Slide Number Placeholder 6">
            <a:extLst>
              <a:ext uri="{FF2B5EF4-FFF2-40B4-BE49-F238E27FC236}">
                <a16:creationId xmlns:a16="http://schemas.microsoft.com/office/drawing/2014/main" id="{DBFE40F3-EF7C-CF47-84EA-47BCB129D9F5}"/>
              </a:ext>
            </a:extLst>
          </p:cNvPr>
          <p:cNvSpPr>
            <a:spLocks noGrp="1"/>
          </p:cNvSpPr>
          <p:nvPr>
            <p:ph type="sldNum" sz="quarter" idx="17"/>
          </p:nvPr>
        </p:nvSpPr>
        <p:spPr/>
        <p:txBody>
          <a:bodyPr/>
          <a:lstStyle>
            <a:lvl1pPr>
              <a:defRPr>
                <a:solidFill>
                  <a:srgbClr val="2167AE"/>
                </a:solidFill>
              </a:defRPr>
            </a:lvl1pPr>
          </a:lstStyle>
          <a:p>
            <a:fld id="{D691331D-A62F-41F8-BAEC-0A7727B7C525}" type="slidenum">
              <a:rPr lang="en-GB" smtClean="0"/>
              <a:pPr/>
              <a:t>‹#›</a:t>
            </a:fld>
            <a:endParaRPr lang="en-GB" dirty="0"/>
          </a:p>
        </p:txBody>
      </p:sp>
      <p:sp>
        <p:nvSpPr>
          <p:cNvPr id="4" name="Content Placeholder 3">
            <a:extLst>
              <a:ext uri="{FF2B5EF4-FFF2-40B4-BE49-F238E27FC236}">
                <a16:creationId xmlns:a16="http://schemas.microsoft.com/office/drawing/2014/main" id="{2AF3AD51-F82E-4C8D-A78E-35C96A3605C4}"/>
              </a:ext>
            </a:extLst>
          </p:cNvPr>
          <p:cNvSpPr>
            <a:spLocks noGrp="1"/>
          </p:cNvSpPr>
          <p:nvPr>
            <p:ph sz="quarter" idx="18" hasCustomPrompt="1"/>
          </p:nvPr>
        </p:nvSpPr>
        <p:spPr>
          <a:xfrm>
            <a:off x="247944" y="837817"/>
            <a:ext cx="4324056" cy="3938972"/>
          </a:xfrm>
        </p:spPr>
        <p:txBody>
          <a:bodyPr/>
          <a:lstStyle>
            <a:lvl1pPr>
              <a:defRPr>
                <a:solidFill>
                  <a:srgbClr val="1C67AF"/>
                </a:solidFill>
              </a:defRPr>
            </a:lvl1pPr>
            <a:lvl2pPr marL="339283" indent="-135713">
              <a:buClr>
                <a:srgbClr val="1C67AF"/>
              </a:buClr>
              <a:buSzPct val="100000"/>
              <a:buFont typeface="Arial" panose="020B0604020202020204" pitchFamily="34" charset="0"/>
              <a:buChar char="•"/>
              <a:defRPr>
                <a:solidFill>
                  <a:srgbClr val="1C67AF"/>
                </a:solidFill>
              </a:defRPr>
            </a:lvl2pPr>
            <a:lvl3pPr marL="534520" indent="-127380">
              <a:buClr>
                <a:srgbClr val="1C67AF"/>
              </a:buClr>
              <a:buFont typeface="Arial" panose="020B0604020202020204" pitchFamily="34" charset="0"/>
              <a:buChar char="−"/>
              <a:defRPr>
                <a:solidFill>
                  <a:srgbClr val="1C67AF"/>
                </a:solidFill>
              </a:defRPr>
            </a:lvl3pPr>
            <a:lvl4pPr marL="739280" indent="-133332">
              <a:buFont typeface="Arial" panose="020B0604020202020204" pitchFamily="34" charset="0"/>
              <a:buChar char="−"/>
              <a:defRPr>
                <a:solidFill>
                  <a:schemeClr val="accent6"/>
                </a:solidFill>
              </a:defRPr>
            </a:lvl4pPr>
            <a:lvl5pPr marL="934516" indent="-128570">
              <a:buFont typeface="Arial" panose="020B0604020202020204" pitchFamily="34" charset="0"/>
              <a:buChar char="−"/>
              <a:defRPr>
                <a:solidFill>
                  <a:schemeClr val="accent6"/>
                </a:solidFill>
              </a:defRPr>
            </a:lvl5pPr>
          </a:lstStyle>
          <a:p>
            <a:pPr lvl="0"/>
            <a:r>
              <a:rPr lang="en-US" dirty="0"/>
              <a:t>Add text, table, chart, image etc.</a:t>
            </a:r>
          </a:p>
          <a:p>
            <a:pPr lvl="1"/>
            <a:r>
              <a:rPr lang="en-US" dirty="0"/>
              <a:t>Second level</a:t>
            </a:r>
          </a:p>
          <a:p>
            <a:pPr lvl="2"/>
            <a:r>
              <a:rPr lang="en-US" dirty="0"/>
              <a:t>Third level</a:t>
            </a:r>
          </a:p>
        </p:txBody>
      </p:sp>
      <p:sp>
        <p:nvSpPr>
          <p:cNvPr id="16" name="Picture Placeholder 2">
            <a:extLst>
              <a:ext uri="{FF2B5EF4-FFF2-40B4-BE49-F238E27FC236}">
                <a16:creationId xmlns:a16="http://schemas.microsoft.com/office/drawing/2014/main" id="{EF3FB2AA-8D1C-4DC7-A4EE-C2070ED640BE}"/>
              </a:ext>
            </a:extLst>
          </p:cNvPr>
          <p:cNvSpPr>
            <a:spLocks noGrp="1" noChangeAspect="1"/>
          </p:cNvSpPr>
          <p:nvPr>
            <p:ph type="pic" sz="quarter" idx="12" hasCustomPrompt="1"/>
          </p:nvPr>
        </p:nvSpPr>
        <p:spPr>
          <a:xfrm>
            <a:off x="5267102" y="1000370"/>
            <a:ext cx="3624898" cy="3624898"/>
          </a:xfrm>
          <a:prstGeom prst="ellipse">
            <a:avLst/>
          </a:prstGeom>
        </p:spPr>
        <p:txBody>
          <a:bodyPr/>
          <a:lstStyle>
            <a:lvl1pPr algn="ctr">
              <a:buNone/>
              <a:defRPr>
                <a:solidFill>
                  <a:srgbClr val="FFFFFF"/>
                </a:solidFill>
              </a:defRPr>
            </a:lvl1pPr>
          </a:lstStyle>
          <a:p>
            <a:r>
              <a:rPr lang="en-US" noProof="0" dirty="0"/>
              <a:t>Add a picture here</a:t>
            </a:r>
          </a:p>
        </p:txBody>
      </p:sp>
      <p:pic>
        <p:nvPicPr>
          <p:cNvPr id="9" name="Picture 8">
            <a:extLst>
              <a:ext uri="{FF2B5EF4-FFF2-40B4-BE49-F238E27FC236}">
                <a16:creationId xmlns:a16="http://schemas.microsoft.com/office/drawing/2014/main" id="{E41DBA8C-295E-45F3-86CE-C55C2A8C705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0631" y="119436"/>
            <a:ext cx="1330325" cy="512964"/>
          </a:xfrm>
          <a:prstGeom prst="rect">
            <a:avLst/>
          </a:prstGeom>
        </p:spPr>
      </p:pic>
    </p:spTree>
    <p:extLst>
      <p:ext uri="{BB962C8B-B14F-4D97-AF65-F5344CB8AC3E}">
        <p14:creationId xmlns:p14="http://schemas.microsoft.com/office/powerpoint/2010/main" val="7175939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ontent_image_table etc">
    <p:bg>
      <p:bgPr>
        <a:solidFill>
          <a:srgbClr val="1C67AF"/>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550AD41-FA64-4C59-8A37-22FCE5572A7A}"/>
              </a:ext>
            </a:extLst>
          </p:cNvPr>
          <p:cNvGraphicFramePr>
            <a:graphicFrameLocks noChangeAspect="1"/>
          </p:cNvGraphicFramePr>
          <p:nvPr userDrawn="1">
            <p:custDataLst>
              <p:tags r:id="rId1"/>
            </p:custDataLst>
            <p:extLst>
              <p:ext uri="{D42A27DB-BD31-4B8C-83A1-F6EECF244321}">
                <p14:modId xmlns:p14="http://schemas.microsoft.com/office/powerpoint/2010/main" val="2208336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4550AD41-FA64-4C59-8A37-22FCE5572A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7576DE17-B41F-F94E-8417-AABA2A9152F7}"/>
              </a:ext>
            </a:extLst>
          </p:cNvPr>
          <p:cNvSpPr>
            <a:spLocks noGrp="1"/>
          </p:cNvSpPr>
          <p:nvPr>
            <p:ph type="ftr" sz="quarter" idx="16"/>
          </p:nvPr>
        </p:nvSpPr>
        <p:spPr/>
        <p:txBody>
          <a:bodyPr/>
          <a:lstStyle>
            <a:lvl1pPr algn="r">
              <a:defRPr>
                <a:solidFill>
                  <a:srgbClr val="2167AE"/>
                </a:solidFill>
              </a:defRPr>
            </a:lvl1pPr>
          </a:lstStyle>
          <a:p>
            <a:endParaRPr lang="en-GB" dirty="0"/>
          </a:p>
        </p:txBody>
      </p:sp>
      <p:sp>
        <p:nvSpPr>
          <p:cNvPr id="7" name="Slide Number Placeholder 6">
            <a:extLst>
              <a:ext uri="{FF2B5EF4-FFF2-40B4-BE49-F238E27FC236}">
                <a16:creationId xmlns:a16="http://schemas.microsoft.com/office/drawing/2014/main" id="{DBFE40F3-EF7C-CF47-84EA-47BCB129D9F5}"/>
              </a:ext>
            </a:extLst>
          </p:cNvPr>
          <p:cNvSpPr>
            <a:spLocks noGrp="1"/>
          </p:cNvSpPr>
          <p:nvPr>
            <p:ph type="sldNum" sz="quarter" idx="17"/>
          </p:nvPr>
        </p:nvSpPr>
        <p:spPr/>
        <p:txBody>
          <a:bodyPr/>
          <a:lstStyle>
            <a:lvl1pPr>
              <a:defRPr>
                <a:solidFill>
                  <a:srgbClr val="2167AE"/>
                </a:solidFill>
              </a:defRPr>
            </a:lvl1pPr>
          </a:lstStyle>
          <a:p>
            <a:fld id="{D691331D-A62F-41F8-BAEC-0A7727B7C525}" type="slidenum">
              <a:rPr lang="en-GB" smtClean="0"/>
              <a:pPr/>
              <a:t>‹#›</a:t>
            </a:fld>
            <a:endParaRPr lang="en-GB" dirty="0"/>
          </a:p>
        </p:txBody>
      </p:sp>
      <p:sp>
        <p:nvSpPr>
          <p:cNvPr id="4" name="Content Placeholder 3">
            <a:extLst>
              <a:ext uri="{FF2B5EF4-FFF2-40B4-BE49-F238E27FC236}">
                <a16:creationId xmlns:a16="http://schemas.microsoft.com/office/drawing/2014/main" id="{2AF3AD51-F82E-4C8D-A78E-35C96A3605C4}"/>
              </a:ext>
            </a:extLst>
          </p:cNvPr>
          <p:cNvSpPr>
            <a:spLocks noGrp="1"/>
          </p:cNvSpPr>
          <p:nvPr>
            <p:ph sz="quarter" idx="18" hasCustomPrompt="1"/>
          </p:nvPr>
        </p:nvSpPr>
        <p:spPr>
          <a:xfrm>
            <a:off x="247944" y="837817"/>
            <a:ext cx="4324056" cy="3938972"/>
          </a:xfrm>
        </p:spPr>
        <p:txBody>
          <a:bodyPr/>
          <a:lstStyle>
            <a:lvl1pPr>
              <a:defRPr>
                <a:solidFill>
                  <a:schemeClr val="accent6"/>
                </a:solidFill>
              </a:defRPr>
            </a:lvl1pPr>
            <a:lvl2pPr marL="339283" indent="-135713">
              <a:buClr>
                <a:schemeClr val="accent6"/>
              </a:buClr>
              <a:buSzPct val="120000"/>
              <a:buFont typeface="Arial" panose="020B0604020202020204" pitchFamily="34" charset="0"/>
              <a:buChar char="•"/>
              <a:defRPr>
                <a:solidFill>
                  <a:schemeClr val="accent6"/>
                </a:solidFill>
              </a:defRPr>
            </a:lvl2pPr>
            <a:lvl3pPr marL="534520" indent="-127380">
              <a:buClr>
                <a:schemeClr val="accent6"/>
              </a:buClr>
              <a:buFont typeface="Arial" panose="020B0604020202020204" pitchFamily="34" charset="0"/>
              <a:buChar char="−"/>
              <a:defRPr>
                <a:solidFill>
                  <a:schemeClr val="accent6"/>
                </a:solidFill>
              </a:defRPr>
            </a:lvl3pPr>
            <a:lvl4pPr marL="739280" indent="-133332">
              <a:buFont typeface="Arial" panose="020B0604020202020204" pitchFamily="34" charset="0"/>
              <a:buChar char="−"/>
              <a:defRPr>
                <a:solidFill>
                  <a:schemeClr val="accent6"/>
                </a:solidFill>
              </a:defRPr>
            </a:lvl4pPr>
            <a:lvl5pPr marL="934516" indent="-128570">
              <a:buFont typeface="Arial" panose="020B0604020202020204" pitchFamily="34" charset="0"/>
              <a:buChar char="−"/>
              <a:defRPr>
                <a:solidFill>
                  <a:schemeClr val="accent6"/>
                </a:solidFill>
              </a:defRPr>
            </a:lvl5pPr>
          </a:lstStyle>
          <a:p>
            <a:pPr lvl="0"/>
            <a:r>
              <a:rPr lang="en-US" dirty="0"/>
              <a:t>Add text, table, chart, image etc.</a:t>
            </a:r>
          </a:p>
          <a:p>
            <a:pPr lvl="1"/>
            <a:r>
              <a:rPr lang="en-US" dirty="0"/>
              <a:t>Second level</a:t>
            </a:r>
          </a:p>
          <a:p>
            <a:pPr lvl="2"/>
            <a:r>
              <a:rPr lang="en-US" dirty="0"/>
              <a:t>Third level</a:t>
            </a:r>
          </a:p>
        </p:txBody>
      </p:sp>
      <p:pic>
        <p:nvPicPr>
          <p:cNvPr id="14" name="Picture 13" descr="Logo&#10;&#10;Description automatically generated">
            <a:extLst>
              <a:ext uri="{FF2B5EF4-FFF2-40B4-BE49-F238E27FC236}">
                <a16:creationId xmlns:a16="http://schemas.microsoft.com/office/drawing/2014/main" id="{580D17CD-4526-428E-B598-FEF7740BE94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0631" y="120682"/>
            <a:ext cx="1332000" cy="513610"/>
          </a:xfrm>
          <a:prstGeom prst="rect">
            <a:avLst/>
          </a:prstGeom>
        </p:spPr>
      </p:pic>
      <p:sp>
        <p:nvSpPr>
          <p:cNvPr id="16" name="Picture Placeholder 2">
            <a:extLst>
              <a:ext uri="{FF2B5EF4-FFF2-40B4-BE49-F238E27FC236}">
                <a16:creationId xmlns:a16="http://schemas.microsoft.com/office/drawing/2014/main" id="{EF3FB2AA-8D1C-4DC7-A4EE-C2070ED640BE}"/>
              </a:ext>
            </a:extLst>
          </p:cNvPr>
          <p:cNvSpPr>
            <a:spLocks noGrp="1" noChangeAspect="1"/>
          </p:cNvSpPr>
          <p:nvPr>
            <p:ph type="pic" sz="quarter" idx="12" hasCustomPrompt="1"/>
          </p:nvPr>
        </p:nvSpPr>
        <p:spPr>
          <a:xfrm>
            <a:off x="5267102" y="1000370"/>
            <a:ext cx="3624898" cy="3624898"/>
          </a:xfrm>
          <a:prstGeom prst="ellipse">
            <a:avLst/>
          </a:prstGeom>
        </p:spPr>
        <p:txBody>
          <a:bodyPr/>
          <a:lstStyle>
            <a:lvl1pPr algn="ctr">
              <a:buNone/>
              <a:defRPr>
                <a:solidFill>
                  <a:srgbClr val="FFFFFF"/>
                </a:solidFill>
              </a:defRPr>
            </a:lvl1pPr>
          </a:lstStyle>
          <a:p>
            <a:r>
              <a:rPr lang="en-US" noProof="0" dirty="0"/>
              <a:t>Add a picture here</a:t>
            </a:r>
          </a:p>
        </p:txBody>
      </p:sp>
    </p:spTree>
    <p:extLst>
      <p:ext uri="{BB962C8B-B14F-4D97-AF65-F5344CB8AC3E}">
        <p14:creationId xmlns:p14="http://schemas.microsoft.com/office/powerpoint/2010/main" val="31318524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3_Section Header">
    <p:bg>
      <p:bgPr>
        <a:solidFill>
          <a:srgbClr val="1C67A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2801938"/>
            <a:ext cx="3632201" cy="1021556"/>
          </a:xfrm>
          <a:prstGeom prst="rect">
            <a:avLst/>
          </a:prstGeom>
        </p:spPr>
        <p:txBody>
          <a:bodyPr anchor="t" anchorCtr="0">
            <a:normAutofit/>
          </a:bodyPr>
          <a:lstStyle>
            <a:lvl1pPr algn="l">
              <a:defRPr sz="1400" b="0" i="0" cap="none" baseline="0">
                <a:solidFill>
                  <a:schemeClr val="accent6"/>
                </a:solidFill>
                <a:latin typeface="Arial" panose="020B0604020202020204" pitchFamily="34" charset="0"/>
                <a:cs typeface="Arial" panose="020B0604020202020204" pitchFamily="34" charset="0"/>
              </a:defRPr>
            </a:lvl1pPr>
          </a:lstStyle>
          <a:p>
            <a:r>
              <a:rPr lang="en-GB" noProof="0" dirty="0"/>
              <a:t>Section subtitle</a:t>
            </a:r>
          </a:p>
        </p:txBody>
      </p:sp>
      <p:sp>
        <p:nvSpPr>
          <p:cNvPr id="3" name="Text Placeholder 2"/>
          <p:cNvSpPr>
            <a:spLocks noGrp="1"/>
          </p:cNvSpPr>
          <p:nvPr>
            <p:ph type="body" idx="1" hasCustomPrompt="1"/>
          </p:nvPr>
        </p:nvSpPr>
        <p:spPr>
          <a:xfrm>
            <a:off x="250825" y="1586306"/>
            <a:ext cx="3632200" cy="948932"/>
          </a:xfrm>
          <a:prstGeom prst="rect">
            <a:avLst/>
          </a:prstGeom>
        </p:spPr>
        <p:txBody>
          <a:bodyPr anchor="b">
            <a:normAutofit/>
          </a:bodyPr>
          <a:lstStyle>
            <a:lvl1pPr marL="0" indent="0">
              <a:buNone/>
              <a:defRPr lang="en-GB" sz="2400" b="0" i="0" cap="none" baseline="0" dirty="0">
                <a:solidFill>
                  <a:schemeClr val="accent6"/>
                </a:solidFill>
                <a:latin typeface="Arial" panose="020B0604020202020204" pitchFamily="34" charset="0"/>
                <a:ea typeface="+mj-ea"/>
                <a:cs typeface="Arial" panose="020B0604020202020204" pitchFamily="34" charset="0"/>
              </a:defRPr>
            </a:lvl1pPr>
            <a:lvl2pPr marL="342854" indent="0">
              <a:buNone/>
              <a:defRPr sz="1350"/>
            </a:lvl2pPr>
            <a:lvl3pPr marL="685709" indent="0">
              <a:buNone/>
              <a:defRPr sz="1200"/>
            </a:lvl3pPr>
            <a:lvl4pPr marL="1028563" indent="0">
              <a:buNone/>
              <a:defRPr sz="1050"/>
            </a:lvl4pPr>
            <a:lvl5pPr marL="1371417" indent="0">
              <a:buNone/>
              <a:defRPr sz="1050"/>
            </a:lvl5pPr>
            <a:lvl6pPr marL="1714271" indent="0">
              <a:buNone/>
              <a:defRPr sz="1050"/>
            </a:lvl6pPr>
            <a:lvl7pPr marL="2057126" indent="0">
              <a:buNone/>
              <a:defRPr sz="1050"/>
            </a:lvl7pPr>
            <a:lvl8pPr marL="2399980" indent="0">
              <a:buNone/>
              <a:defRPr sz="1050"/>
            </a:lvl8pPr>
            <a:lvl9pPr marL="2742834" indent="0">
              <a:buNone/>
              <a:defRPr sz="1050"/>
            </a:lvl9pPr>
          </a:lstStyle>
          <a:p>
            <a:pPr lvl="0"/>
            <a:r>
              <a:rPr lang="en-GB" dirty="0"/>
              <a:t>Section title</a:t>
            </a:r>
          </a:p>
        </p:txBody>
      </p:sp>
      <p:pic>
        <p:nvPicPr>
          <p:cNvPr id="7" name="Picture 6" descr="Logo&#10;&#10;Description automatically generated">
            <a:extLst>
              <a:ext uri="{FF2B5EF4-FFF2-40B4-BE49-F238E27FC236}">
                <a16:creationId xmlns:a16="http://schemas.microsoft.com/office/drawing/2014/main" id="{5F7B1B7A-5EE5-4020-A170-94A14597F4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0631" y="120682"/>
            <a:ext cx="1332000" cy="513610"/>
          </a:xfrm>
          <a:prstGeom prst="rect">
            <a:avLst/>
          </a:prstGeom>
        </p:spPr>
      </p:pic>
    </p:spTree>
    <p:extLst>
      <p:ext uri="{BB962C8B-B14F-4D97-AF65-F5344CB8AC3E}">
        <p14:creationId xmlns:p14="http://schemas.microsoft.com/office/powerpoint/2010/main" val="2397579919"/>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2_Section Header">
    <p:bg>
      <p:bgPr>
        <a:solidFill>
          <a:srgbClr val="91BFE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2801938"/>
            <a:ext cx="3632201" cy="1021556"/>
          </a:xfrm>
          <a:prstGeom prst="rect">
            <a:avLst/>
          </a:prstGeom>
        </p:spPr>
        <p:txBody>
          <a:bodyPr anchor="t" anchorCtr="0">
            <a:normAutofit/>
          </a:bodyPr>
          <a:lstStyle>
            <a:lvl1pPr algn="l">
              <a:defRPr sz="1400" b="0" i="0" cap="none" baseline="0">
                <a:solidFill>
                  <a:srgbClr val="2167AE"/>
                </a:solidFill>
                <a:latin typeface="Arial" panose="020B0604020202020204" pitchFamily="34" charset="0"/>
                <a:cs typeface="Arial" panose="020B0604020202020204" pitchFamily="34" charset="0"/>
              </a:defRPr>
            </a:lvl1pPr>
          </a:lstStyle>
          <a:p>
            <a:r>
              <a:rPr lang="en-GB" noProof="0" dirty="0"/>
              <a:t>Section subtitle</a:t>
            </a:r>
          </a:p>
        </p:txBody>
      </p:sp>
      <p:sp>
        <p:nvSpPr>
          <p:cNvPr id="3" name="Text Placeholder 2"/>
          <p:cNvSpPr>
            <a:spLocks noGrp="1"/>
          </p:cNvSpPr>
          <p:nvPr>
            <p:ph type="body" idx="1" hasCustomPrompt="1"/>
          </p:nvPr>
        </p:nvSpPr>
        <p:spPr>
          <a:xfrm>
            <a:off x="250825" y="1586306"/>
            <a:ext cx="3632200" cy="948932"/>
          </a:xfrm>
          <a:prstGeom prst="rect">
            <a:avLst/>
          </a:prstGeom>
        </p:spPr>
        <p:txBody>
          <a:bodyPr anchor="b">
            <a:normAutofit/>
          </a:bodyPr>
          <a:lstStyle>
            <a:lvl1pPr marL="0" indent="0">
              <a:buNone/>
              <a:defRPr lang="en-GB" sz="2400" b="0" i="0" cap="none" baseline="0" dirty="0">
                <a:solidFill>
                  <a:srgbClr val="2167AE"/>
                </a:solidFill>
                <a:latin typeface="Arial" panose="020B0604020202020204" pitchFamily="34" charset="0"/>
                <a:ea typeface="+mj-ea"/>
                <a:cs typeface="Arial" panose="020B0604020202020204" pitchFamily="34" charset="0"/>
              </a:defRPr>
            </a:lvl1pPr>
            <a:lvl2pPr marL="342854" indent="0">
              <a:buNone/>
              <a:defRPr sz="1350"/>
            </a:lvl2pPr>
            <a:lvl3pPr marL="685709" indent="0">
              <a:buNone/>
              <a:defRPr sz="1200"/>
            </a:lvl3pPr>
            <a:lvl4pPr marL="1028563" indent="0">
              <a:buNone/>
              <a:defRPr sz="1050"/>
            </a:lvl4pPr>
            <a:lvl5pPr marL="1371417" indent="0">
              <a:buNone/>
              <a:defRPr sz="1050"/>
            </a:lvl5pPr>
            <a:lvl6pPr marL="1714271" indent="0">
              <a:buNone/>
              <a:defRPr sz="1050"/>
            </a:lvl6pPr>
            <a:lvl7pPr marL="2057126" indent="0">
              <a:buNone/>
              <a:defRPr sz="1050"/>
            </a:lvl7pPr>
            <a:lvl8pPr marL="2399980" indent="0">
              <a:buNone/>
              <a:defRPr sz="1050"/>
            </a:lvl8pPr>
            <a:lvl9pPr marL="2742834" indent="0">
              <a:buNone/>
              <a:defRPr sz="1050"/>
            </a:lvl9pPr>
          </a:lstStyle>
          <a:p>
            <a:pPr lvl="0"/>
            <a:r>
              <a:rPr lang="en-GB" dirty="0"/>
              <a:t>Section title</a:t>
            </a:r>
          </a:p>
        </p:txBody>
      </p:sp>
      <p:pic>
        <p:nvPicPr>
          <p:cNvPr id="14" name="Picture 13">
            <a:extLst>
              <a:ext uri="{FF2B5EF4-FFF2-40B4-BE49-F238E27FC236}">
                <a16:creationId xmlns:a16="http://schemas.microsoft.com/office/drawing/2014/main" id="{25ED2092-3709-8B48-A369-AC083C63E0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0631" y="119436"/>
            <a:ext cx="1330325" cy="512964"/>
          </a:xfrm>
          <a:prstGeom prst="rect">
            <a:avLst/>
          </a:prstGeom>
        </p:spPr>
      </p:pic>
    </p:spTree>
    <p:extLst>
      <p:ext uri="{BB962C8B-B14F-4D97-AF65-F5344CB8AC3E}">
        <p14:creationId xmlns:p14="http://schemas.microsoft.com/office/powerpoint/2010/main" val="288371270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rgbClr val="DBD3B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2801938"/>
            <a:ext cx="3632201" cy="1021556"/>
          </a:xfrm>
          <a:prstGeom prst="rect">
            <a:avLst/>
          </a:prstGeom>
        </p:spPr>
        <p:txBody>
          <a:bodyPr anchor="t" anchorCtr="0">
            <a:normAutofit/>
          </a:bodyPr>
          <a:lstStyle>
            <a:lvl1pPr algn="l">
              <a:defRPr sz="1400" b="0" i="0" cap="none" baseline="0">
                <a:solidFill>
                  <a:srgbClr val="2167AE"/>
                </a:solidFill>
                <a:latin typeface="Arial" panose="020B0604020202020204" pitchFamily="34" charset="0"/>
                <a:cs typeface="Arial" panose="020B0604020202020204" pitchFamily="34" charset="0"/>
              </a:defRPr>
            </a:lvl1pPr>
          </a:lstStyle>
          <a:p>
            <a:r>
              <a:rPr lang="en-GB" noProof="0" dirty="0"/>
              <a:t>Section subtitle</a:t>
            </a:r>
          </a:p>
        </p:txBody>
      </p:sp>
      <p:sp>
        <p:nvSpPr>
          <p:cNvPr id="3" name="Text Placeholder 2"/>
          <p:cNvSpPr>
            <a:spLocks noGrp="1"/>
          </p:cNvSpPr>
          <p:nvPr>
            <p:ph type="body" idx="1" hasCustomPrompt="1"/>
          </p:nvPr>
        </p:nvSpPr>
        <p:spPr>
          <a:xfrm>
            <a:off x="250825" y="1586306"/>
            <a:ext cx="3632200" cy="948932"/>
          </a:xfrm>
          <a:prstGeom prst="rect">
            <a:avLst/>
          </a:prstGeom>
        </p:spPr>
        <p:txBody>
          <a:bodyPr anchor="b">
            <a:normAutofit/>
          </a:bodyPr>
          <a:lstStyle>
            <a:lvl1pPr marL="0" indent="0">
              <a:buNone/>
              <a:defRPr lang="en-GB" sz="2400" b="0" i="0" cap="none" baseline="0" dirty="0">
                <a:solidFill>
                  <a:srgbClr val="2167AE"/>
                </a:solidFill>
                <a:latin typeface="Arial" panose="020B0604020202020204" pitchFamily="34" charset="0"/>
                <a:ea typeface="+mj-ea"/>
                <a:cs typeface="Arial" panose="020B0604020202020204" pitchFamily="34" charset="0"/>
              </a:defRPr>
            </a:lvl1pPr>
            <a:lvl2pPr marL="342854" indent="0">
              <a:buNone/>
              <a:defRPr sz="1350"/>
            </a:lvl2pPr>
            <a:lvl3pPr marL="685709" indent="0">
              <a:buNone/>
              <a:defRPr sz="1200"/>
            </a:lvl3pPr>
            <a:lvl4pPr marL="1028563" indent="0">
              <a:buNone/>
              <a:defRPr sz="1050"/>
            </a:lvl4pPr>
            <a:lvl5pPr marL="1371417" indent="0">
              <a:buNone/>
              <a:defRPr sz="1050"/>
            </a:lvl5pPr>
            <a:lvl6pPr marL="1714271" indent="0">
              <a:buNone/>
              <a:defRPr sz="1050"/>
            </a:lvl6pPr>
            <a:lvl7pPr marL="2057126" indent="0">
              <a:buNone/>
              <a:defRPr sz="1050"/>
            </a:lvl7pPr>
            <a:lvl8pPr marL="2399980" indent="0">
              <a:buNone/>
              <a:defRPr sz="1050"/>
            </a:lvl8pPr>
            <a:lvl9pPr marL="2742834" indent="0">
              <a:buNone/>
              <a:defRPr sz="1050"/>
            </a:lvl9pPr>
          </a:lstStyle>
          <a:p>
            <a:pPr lvl="0"/>
            <a:r>
              <a:rPr lang="en-GB" dirty="0"/>
              <a:t>Section title</a:t>
            </a:r>
          </a:p>
        </p:txBody>
      </p:sp>
      <p:pic>
        <p:nvPicPr>
          <p:cNvPr id="14" name="Picture 13">
            <a:extLst>
              <a:ext uri="{FF2B5EF4-FFF2-40B4-BE49-F238E27FC236}">
                <a16:creationId xmlns:a16="http://schemas.microsoft.com/office/drawing/2014/main" id="{25ED2092-3709-8B48-A369-AC083C63E0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0631" y="119436"/>
            <a:ext cx="1330325" cy="512964"/>
          </a:xfrm>
          <a:prstGeom prst="rect">
            <a:avLst/>
          </a:prstGeom>
        </p:spPr>
      </p:pic>
    </p:spTree>
    <p:extLst>
      <p:ext uri="{BB962C8B-B14F-4D97-AF65-F5344CB8AC3E}">
        <p14:creationId xmlns:p14="http://schemas.microsoft.com/office/powerpoint/2010/main" val="193799428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4_Section Header">
    <p:bg>
      <p:bgPr>
        <a:solidFill>
          <a:srgbClr val="DDE4E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2801938"/>
            <a:ext cx="3632201" cy="1021556"/>
          </a:xfrm>
          <a:prstGeom prst="rect">
            <a:avLst/>
          </a:prstGeom>
        </p:spPr>
        <p:txBody>
          <a:bodyPr anchor="t" anchorCtr="0">
            <a:normAutofit/>
          </a:bodyPr>
          <a:lstStyle>
            <a:lvl1pPr algn="l">
              <a:defRPr sz="1400" b="0" i="0" cap="none" baseline="0">
                <a:solidFill>
                  <a:srgbClr val="2167AE"/>
                </a:solidFill>
                <a:latin typeface="Arial" panose="020B0604020202020204" pitchFamily="34" charset="0"/>
                <a:cs typeface="Arial" panose="020B0604020202020204" pitchFamily="34" charset="0"/>
              </a:defRPr>
            </a:lvl1pPr>
          </a:lstStyle>
          <a:p>
            <a:r>
              <a:rPr lang="en-GB" noProof="0" dirty="0"/>
              <a:t>Section subtitle</a:t>
            </a:r>
          </a:p>
        </p:txBody>
      </p:sp>
      <p:sp>
        <p:nvSpPr>
          <p:cNvPr id="3" name="Text Placeholder 2"/>
          <p:cNvSpPr>
            <a:spLocks noGrp="1"/>
          </p:cNvSpPr>
          <p:nvPr>
            <p:ph type="body" idx="1" hasCustomPrompt="1"/>
          </p:nvPr>
        </p:nvSpPr>
        <p:spPr>
          <a:xfrm>
            <a:off x="250825" y="1586306"/>
            <a:ext cx="3632200" cy="948932"/>
          </a:xfrm>
          <a:prstGeom prst="rect">
            <a:avLst/>
          </a:prstGeom>
        </p:spPr>
        <p:txBody>
          <a:bodyPr anchor="b">
            <a:normAutofit/>
          </a:bodyPr>
          <a:lstStyle>
            <a:lvl1pPr marL="0" indent="0">
              <a:buNone/>
              <a:defRPr lang="en-GB" sz="2400" b="0" i="0" cap="none" baseline="0" dirty="0">
                <a:solidFill>
                  <a:srgbClr val="2167AE"/>
                </a:solidFill>
                <a:latin typeface="Arial" panose="020B0604020202020204" pitchFamily="34" charset="0"/>
                <a:ea typeface="+mj-ea"/>
                <a:cs typeface="Arial" panose="020B0604020202020204" pitchFamily="34" charset="0"/>
              </a:defRPr>
            </a:lvl1pPr>
            <a:lvl2pPr marL="342854" indent="0">
              <a:buNone/>
              <a:defRPr sz="1350"/>
            </a:lvl2pPr>
            <a:lvl3pPr marL="685709" indent="0">
              <a:buNone/>
              <a:defRPr sz="1200"/>
            </a:lvl3pPr>
            <a:lvl4pPr marL="1028563" indent="0">
              <a:buNone/>
              <a:defRPr sz="1050"/>
            </a:lvl4pPr>
            <a:lvl5pPr marL="1371417" indent="0">
              <a:buNone/>
              <a:defRPr sz="1050"/>
            </a:lvl5pPr>
            <a:lvl6pPr marL="1714271" indent="0">
              <a:buNone/>
              <a:defRPr sz="1050"/>
            </a:lvl6pPr>
            <a:lvl7pPr marL="2057126" indent="0">
              <a:buNone/>
              <a:defRPr sz="1050"/>
            </a:lvl7pPr>
            <a:lvl8pPr marL="2399980" indent="0">
              <a:buNone/>
              <a:defRPr sz="1050"/>
            </a:lvl8pPr>
            <a:lvl9pPr marL="2742834" indent="0">
              <a:buNone/>
              <a:defRPr sz="1050"/>
            </a:lvl9pPr>
          </a:lstStyle>
          <a:p>
            <a:pPr lvl="0"/>
            <a:r>
              <a:rPr lang="en-GB" dirty="0"/>
              <a:t>Section title</a:t>
            </a:r>
          </a:p>
        </p:txBody>
      </p:sp>
      <p:pic>
        <p:nvPicPr>
          <p:cNvPr id="14" name="Picture 13">
            <a:extLst>
              <a:ext uri="{FF2B5EF4-FFF2-40B4-BE49-F238E27FC236}">
                <a16:creationId xmlns:a16="http://schemas.microsoft.com/office/drawing/2014/main" id="{25ED2092-3709-8B48-A369-AC083C63E0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0631" y="119436"/>
            <a:ext cx="1330325" cy="512964"/>
          </a:xfrm>
          <a:prstGeom prst="rect">
            <a:avLst/>
          </a:prstGeom>
        </p:spPr>
      </p:pic>
    </p:spTree>
    <p:extLst>
      <p:ext uri="{BB962C8B-B14F-4D97-AF65-F5344CB8AC3E}">
        <p14:creationId xmlns:p14="http://schemas.microsoft.com/office/powerpoint/2010/main" val="135454810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2801938"/>
            <a:ext cx="3632201" cy="1021556"/>
          </a:xfrm>
          <a:prstGeom prst="rect">
            <a:avLst/>
          </a:prstGeom>
        </p:spPr>
        <p:txBody>
          <a:bodyPr anchor="t" anchorCtr="0">
            <a:normAutofit/>
          </a:bodyPr>
          <a:lstStyle>
            <a:lvl1pPr algn="l">
              <a:defRPr sz="1400" b="0" i="0" cap="none" baseline="0">
                <a:solidFill>
                  <a:srgbClr val="2167AE"/>
                </a:solidFill>
                <a:latin typeface="Arial" panose="020B0604020202020204" pitchFamily="34" charset="0"/>
                <a:cs typeface="Arial" panose="020B0604020202020204" pitchFamily="34" charset="0"/>
              </a:defRPr>
            </a:lvl1pPr>
          </a:lstStyle>
          <a:p>
            <a:r>
              <a:rPr lang="en-GB" noProof="0" dirty="0"/>
              <a:t>Section subtitle</a:t>
            </a:r>
          </a:p>
        </p:txBody>
      </p:sp>
      <p:sp>
        <p:nvSpPr>
          <p:cNvPr id="3" name="Text Placeholder 2"/>
          <p:cNvSpPr>
            <a:spLocks noGrp="1"/>
          </p:cNvSpPr>
          <p:nvPr>
            <p:ph type="body" idx="1" hasCustomPrompt="1"/>
          </p:nvPr>
        </p:nvSpPr>
        <p:spPr>
          <a:xfrm>
            <a:off x="250825" y="1586306"/>
            <a:ext cx="3632200" cy="948932"/>
          </a:xfrm>
          <a:prstGeom prst="rect">
            <a:avLst/>
          </a:prstGeom>
        </p:spPr>
        <p:txBody>
          <a:bodyPr anchor="b">
            <a:normAutofit/>
          </a:bodyPr>
          <a:lstStyle>
            <a:lvl1pPr marL="0" indent="0">
              <a:buNone/>
              <a:defRPr lang="en-GB" sz="2400" b="0" i="0" cap="none" baseline="0" dirty="0">
                <a:solidFill>
                  <a:srgbClr val="2167AE"/>
                </a:solidFill>
                <a:latin typeface="Arial" panose="020B0604020202020204" pitchFamily="34" charset="0"/>
                <a:ea typeface="+mj-ea"/>
                <a:cs typeface="Arial" panose="020B0604020202020204" pitchFamily="34" charset="0"/>
              </a:defRPr>
            </a:lvl1pPr>
            <a:lvl2pPr marL="342854" indent="0">
              <a:buNone/>
              <a:defRPr sz="1350"/>
            </a:lvl2pPr>
            <a:lvl3pPr marL="685709" indent="0">
              <a:buNone/>
              <a:defRPr sz="1200"/>
            </a:lvl3pPr>
            <a:lvl4pPr marL="1028563" indent="0">
              <a:buNone/>
              <a:defRPr sz="1050"/>
            </a:lvl4pPr>
            <a:lvl5pPr marL="1371417" indent="0">
              <a:buNone/>
              <a:defRPr sz="1050"/>
            </a:lvl5pPr>
            <a:lvl6pPr marL="1714271" indent="0">
              <a:buNone/>
              <a:defRPr sz="1050"/>
            </a:lvl6pPr>
            <a:lvl7pPr marL="2057126" indent="0">
              <a:buNone/>
              <a:defRPr sz="1050"/>
            </a:lvl7pPr>
            <a:lvl8pPr marL="2399980" indent="0">
              <a:buNone/>
              <a:defRPr sz="1050"/>
            </a:lvl8pPr>
            <a:lvl9pPr marL="2742834" indent="0">
              <a:buNone/>
              <a:defRPr sz="1050"/>
            </a:lvl9pPr>
          </a:lstStyle>
          <a:p>
            <a:pPr lvl="0"/>
            <a:r>
              <a:rPr lang="en-GB" dirty="0"/>
              <a:t>Section title</a:t>
            </a:r>
          </a:p>
        </p:txBody>
      </p:sp>
      <p:pic>
        <p:nvPicPr>
          <p:cNvPr id="14" name="Picture 13">
            <a:extLst>
              <a:ext uri="{FF2B5EF4-FFF2-40B4-BE49-F238E27FC236}">
                <a16:creationId xmlns:a16="http://schemas.microsoft.com/office/drawing/2014/main" id="{25ED2092-3709-8B48-A369-AC083C63E0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0631" y="119436"/>
            <a:ext cx="1330325" cy="512964"/>
          </a:xfrm>
          <a:prstGeom prst="rect">
            <a:avLst/>
          </a:prstGeom>
        </p:spPr>
      </p:pic>
      <p:grpSp>
        <p:nvGrpSpPr>
          <p:cNvPr id="5" name="Group 4">
            <a:extLst>
              <a:ext uri="{FF2B5EF4-FFF2-40B4-BE49-F238E27FC236}">
                <a16:creationId xmlns:a16="http://schemas.microsoft.com/office/drawing/2014/main" id="{A9E3CD54-4DA3-48E2-A213-4C09D4592FFC}"/>
              </a:ext>
            </a:extLst>
          </p:cNvPr>
          <p:cNvGrpSpPr>
            <a:grpSpLocks noChangeAspect="1"/>
          </p:cNvGrpSpPr>
          <p:nvPr userDrawn="1"/>
        </p:nvGrpSpPr>
        <p:grpSpPr>
          <a:xfrm>
            <a:off x="6414580" y="3506754"/>
            <a:ext cx="1627461" cy="1643220"/>
            <a:chOff x="1937814" y="5029162"/>
            <a:chExt cx="1800000" cy="1817429"/>
          </a:xfrm>
        </p:grpSpPr>
        <p:pic>
          <p:nvPicPr>
            <p:cNvPr id="6" name="Picture 5">
              <a:extLst>
                <a:ext uri="{FF2B5EF4-FFF2-40B4-BE49-F238E27FC236}">
                  <a16:creationId xmlns:a16="http://schemas.microsoft.com/office/drawing/2014/main" id="{37A466A1-7A92-475E-851A-36B584E5D293}"/>
                </a:ext>
              </a:extLst>
            </p:cNvPr>
            <p:cNvPicPr>
              <a:picLocks noChangeAspect="1"/>
            </p:cNvPicPr>
            <p:nvPr/>
          </p:nvPicPr>
          <p:blipFill rotWithShape="1">
            <a:blip r:embed="rId3"/>
            <a:srcRect l="17398" r="17398"/>
            <a:stretch/>
          </p:blipFill>
          <p:spPr>
            <a:xfrm rot="7598800">
              <a:off x="2300197" y="5029162"/>
              <a:ext cx="1080000" cy="1080000"/>
            </a:xfrm>
            <a:prstGeom prst="pie">
              <a:avLst>
                <a:gd name="adj1" fmla="val 0"/>
                <a:gd name="adj2" fmla="val 10763397"/>
              </a:avLst>
            </a:prstGeom>
          </p:spPr>
        </p:pic>
        <p:pic>
          <p:nvPicPr>
            <p:cNvPr id="7" name="Picture 6">
              <a:extLst>
                <a:ext uri="{FF2B5EF4-FFF2-40B4-BE49-F238E27FC236}">
                  <a16:creationId xmlns:a16="http://schemas.microsoft.com/office/drawing/2014/main" id="{36F5181E-BA1D-4FAF-B19F-73A92BA29203}"/>
                </a:ext>
              </a:extLst>
            </p:cNvPr>
            <p:cNvPicPr>
              <a:picLocks noChangeAspect="1"/>
            </p:cNvPicPr>
            <p:nvPr/>
          </p:nvPicPr>
          <p:blipFill rotWithShape="1">
            <a:blip r:embed="rId4"/>
            <a:srcRect l="18483" r="18483"/>
            <a:stretch/>
          </p:blipFill>
          <p:spPr>
            <a:xfrm rot="21076234">
              <a:off x="1937814" y="5046591"/>
              <a:ext cx="1800000" cy="1800000"/>
            </a:xfrm>
            <a:prstGeom prst="pie">
              <a:avLst>
                <a:gd name="adj1" fmla="val 0"/>
                <a:gd name="adj2" fmla="val 10752396"/>
              </a:avLst>
            </a:prstGeom>
          </p:spPr>
        </p:pic>
        <p:sp>
          <p:nvSpPr>
            <p:cNvPr id="8" name="Oval 7">
              <a:extLst>
                <a:ext uri="{FF2B5EF4-FFF2-40B4-BE49-F238E27FC236}">
                  <a16:creationId xmlns:a16="http://schemas.microsoft.com/office/drawing/2014/main" id="{E616613E-CB20-4ABB-AD11-8165624D6930}"/>
                </a:ext>
              </a:extLst>
            </p:cNvPr>
            <p:cNvSpPr>
              <a:spLocks noChangeAspect="1"/>
            </p:cNvSpPr>
            <p:nvPr/>
          </p:nvSpPr>
          <p:spPr bwMode="auto">
            <a:xfrm>
              <a:off x="2812780" y="5434838"/>
              <a:ext cx="477799" cy="477799"/>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defTabSz="914309" fontAlgn="base">
                <a:spcBef>
                  <a:spcPct val="0"/>
                </a:spcBef>
                <a:spcAft>
                  <a:spcPct val="0"/>
                </a:spcAft>
              </a:pPr>
              <a:endParaRPr lang="en-US" sz="2000">
                <a:latin typeface="Frutiger 55 Roman" pitchFamily="34" charset="0"/>
              </a:endParaRPr>
            </a:p>
          </p:txBody>
        </p:sp>
      </p:grpSp>
      <p:sp>
        <p:nvSpPr>
          <p:cNvPr id="9" name="Picture Placeholder 2">
            <a:extLst>
              <a:ext uri="{FF2B5EF4-FFF2-40B4-BE49-F238E27FC236}">
                <a16:creationId xmlns:a16="http://schemas.microsoft.com/office/drawing/2014/main" id="{D84D0F87-6DAC-4CAE-89F0-60C50208B883}"/>
              </a:ext>
            </a:extLst>
          </p:cNvPr>
          <p:cNvSpPr>
            <a:spLocks noGrp="1" noChangeAspect="1"/>
          </p:cNvSpPr>
          <p:nvPr>
            <p:ph type="pic" sz="quarter" idx="12" hasCustomPrompt="1"/>
          </p:nvPr>
        </p:nvSpPr>
        <p:spPr>
          <a:xfrm>
            <a:off x="6539629" y="1232870"/>
            <a:ext cx="2340000" cy="2340000"/>
          </a:xfrm>
          <a:prstGeom prst="ellipse">
            <a:avLst/>
          </a:prstGeom>
        </p:spPr>
        <p:txBody>
          <a:bodyPr/>
          <a:lstStyle>
            <a:lvl1pPr algn="ctr">
              <a:buNone/>
              <a:defRPr>
                <a:solidFill>
                  <a:srgbClr val="2167AE"/>
                </a:solidFill>
              </a:defRPr>
            </a:lvl1pPr>
          </a:lstStyle>
          <a:p>
            <a:r>
              <a:rPr lang="en-GB" dirty="0"/>
              <a:t>Add a picture here</a:t>
            </a:r>
          </a:p>
        </p:txBody>
      </p:sp>
    </p:spTree>
    <p:extLst>
      <p:ext uri="{BB962C8B-B14F-4D97-AF65-F5344CB8AC3E}">
        <p14:creationId xmlns:p14="http://schemas.microsoft.com/office/powerpoint/2010/main" val="405994190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Dark Blue">
    <p:bg>
      <p:bgPr>
        <a:solidFill>
          <a:srgbClr val="23366E"/>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4CA408F-C828-8E43-ADB4-60B767F3171F}"/>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138262" y="119436"/>
            <a:ext cx="1330325" cy="512964"/>
          </a:xfrm>
          <a:prstGeom prst="rect">
            <a:avLst/>
          </a:prstGeom>
        </p:spPr>
      </p:pic>
      <p:sp>
        <p:nvSpPr>
          <p:cNvPr id="11" name="Rectangle 2">
            <a:extLst>
              <a:ext uri="{FF2B5EF4-FFF2-40B4-BE49-F238E27FC236}">
                <a16:creationId xmlns:a16="http://schemas.microsoft.com/office/drawing/2014/main" id="{27828BB0-B414-D041-AD77-12F15CDA53D1}"/>
              </a:ext>
            </a:extLst>
          </p:cNvPr>
          <p:cNvSpPr>
            <a:spLocks noGrp="1" noChangeArrowheads="1"/>
          </p:cNvSpPr>
          <p:nvPr>
            <p:ph type="ctrTitle" hasCustomPrompt="1"/>
          </p:nvPr>
        </p:nvSpPr>
        <p:spPr>
          <a:xfrm>
            <a:off x="250824" y="828675"/>
            <a:ext cx="4886326" cy="1706564"/>
          </a:xfrm>
          <a:prstGeom prst="rect">
            <a:avLst/>
          </a:prstGeom>
          <a:ln/>
        </p:spPr>
        <p:txBody>
          <a:bodyPr anchor="b">
            <a:normAutofit/>
          </a:bodyPr>
          <a:lstStyle>
            <a:lvl1pPr algn="l">
              <a:defRPr sz="2800" b="0" i="0">
                <a:solidFill>
                  <a:srgbClr val="FFFFFF"/>
                </a:solidFill>
                <a:latin typeface="Arial" panose="020B0604020202020204" pitchFamily="34" charset="0"/>
                <a:cs typeface="Arial" panose="020B0604020202020204" pitchFamily="34" charset="0"/>
              </a:defRPr>
            </a:lvl1pPr>
          </a:lstStyle>
          <a:p>
            <a:r>
              <a:rPr lang="en-GB" dirty="0"/>
              <a:t>Headline</a:t>
            </a:r>
            <a:endParaRPr lang="de-CH" dirty="0"/>
          </a:p>
        </p:txBody>
      </p:sp>
      <p:sp>
        <p:nvSpPr>
          <p:cNvPr id="12" name="Text Placeholder 13">
            <a:extLst>
              <a:ext uri="{FF2B5EF4-FFF2-40B4-BE49-F238E27FC236}">
                <a16:creationId xmlns:a16="http://schemas.microsoft.com/office/drawing/2014/main" id="{C43D7118-52CD-AF4E-B38D-3CB412A09B8B}"/>
              </a:ext>
            </a:extLst>
          </p:cNvPr>
          <p:cNvSpPr>
            <a:spLocks noGrp="1"/>
          </p:cNvSpPr>
          <p:nvPr>
            <p:ph type="body" sz="quarter" idx="11" hasCustomPrompt="1"/>
          </p:nvPr>
        </p:nvSpPr>
        <p:spPr>
          <a:xfrm>
            <a:off x="250825" y="2797400"/>
            <a:ext cx="3631216" cy="692142"/>
          </a:xfrm>
          <a:prstGeom prst="rect">
            <a:avLst/>
          </a:prstGeom>
        </p:spPr>
        <p:txBody>
          <a:bodyPr>
            <a:normAutofit/>
          </a:bodyPr>
          <a:lstStyle>
            <a:lvl1pPr>
              <a:buNone/>
              <a:defRPr sz="1600" b="0" i="0">
                <a:solidFill>
                  <a:srgbClr val="FFFFFF"/>
                </a:solidFill>
                <a:latin typeface="Arial" panose="020B0604020202020204" pitchFamily="34" charset="0"/>
                <a:cs typeface="Arial" panose="020B0604020202020204" pitchFamily="34" charset="0"/>
              </a:defRPr>
            </a:lvl1pPr>
          </a:lstStyle>
          <a:p>
            <a:pPr lvl="0"/>
            <a:r>
              <a:rPr lang="en-GB" dirty="0"/>
              <a:t>Subtitle</a:t>
            </a:r>
          </a:p>
        </p:txBody>
      </p:sp>
      <p:sp>
        <p:nvSpPr>
          <p:cNvPr id="10" name="Subtitle 2">
            <a:extLst>
              <a:ext uri="{FF2B5EF4-FFF2-40B4-BE49-F238E27FC236}">
                <a16:creationId xmlns:a16="http://schemas.microsoft.com/office/drawing/2014/main" id="{49185E03-65DA-044C-996F-57EF39D2F6E0}"/>
              </a:ext>
            </a:extLst>
          </p:cNvPr>
          <p:cNvSpPr>
            <a:spLocks noGrp="1"/>
          </p:cNvSpPr>
          <p:nvPr>
            <p:ph type="subTitle" idx="1" hasCustomPrompt="1"/>
          </p:nvPr>
        </p:nvSpPr>
        <p:spPr>
          <a:xfrm>
            <a:off x="253496" y="3753591"/>
            <a:ext cx="3628555" cy="611706"/>
          </a:xfrm>
          <a:prstGeom prst="rect">
            <a:avLst/>
          </a:prstGeom>
        </p:spPr>
        <p:txBody>
          <a:bodyPr anchor="b">
            <a:normAutofit/>
          </a:bodyPr>
          <a:lstStyle>
            <a:lvl1pPr marL="0" indent="0" algn="l">
              <a:buNone/>
              <a:defRPr sz="1000" b="0" i="0">
                <a:solidFill>
                  <a:srgbClr val="FFFFFF"/>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s-ES" dirty="0"/>
              <a:t>Date</a:t>
            </a:r>
            <a:br>
              <a:rPr lang="es-ES" dirty="0"/>
            </a:br>
            <a:r>
              <a:rPr lang="es-ES" dirty="0" err="1"/>
              <a:t>Name</a:t>
            </a:r>
            <a:r>
              <a:rPr lang="es-ES" dirty="0"/>
              <a:t> of </a:t>
            </a:r>
            <a:r>
              <a:rPr lang="es-ES" dirty="0" err="1"/>
              <a:t>moderator</a:t>
            </a:r>
            <a:br>
              <a:rPr lang="es-ES" dirty="0"/>
            </a:br>
            <a:r>
              <a:rPr lang="es-ES" dirty="0" err="1"/>
              <a:t>Organizational</a:t>
            </a:r>
            <a:r>
              <a:rPr lang="es-ES" dirty="0"/>
              <a:t> </a:t>
            </a:r>
            <a:r>
              <a:rPr lang="es-ES" dirty="0" err="1"/>
              <a:t>Unit</a:t>
            </a:r>
            <a:endParaRPr lang="de-CH" dirty="0"/>
          </a:p>
        </p:txBody>
      </p:sp>
      <p:sp>
        <p:nvSpPr>
          <p:cNvPr id="13" name="Picture Placeholder 2">
            <a:extLst>
              <a:ext uri="{FF2B5EF4-FFF2-40B4-BE49-F238E27FC236}">
                <a16:creationId xmlns:a16="http://schemas.microsoft.com/office/drawing/2014/main" id="{01ECD90E-77EF-4146-BC88-83F54A170EE7}"/>
              </a:ext>
            </a:extLst>
          </p:cNvPr>
          <p:cNvSpPr>
            <a:spLocks noGrp="1"/>
          </p:cNvSpPr>
          <p:nvPr>
            <p:ph type="pic" sz="quarter" idx="12" hasCustomPrompt="1"/>
          </p:nvPr>
        </p:nvSpPr>
        <p:spPr>
          <a:xfrm>
            <a:off x="5358517" y="1351512"/>
            <a:ext cx="3780000" cy="3780000"/>
          </a:xfrm>
          <a:prstGeom prst="ellipse">
            <a:avLst/>
          </a:prstGeom>
        </p:spPr>
        <p:txBody>
          <a:bodyPr/>
          <a:lstStyle>
            <a:lvl1pPr algn="ctr">
              <a:buNone/>
              <a:defRPr>
                <a:solidFill>
                  <a:srgbClr val="FFFFFF"/>
                </a:solidFill>
              </a:defRPr>
            </a:lvl1pPr>
          </a:lstStyle>
          <a:p>
            <a:r>
              <a:rPr lang="en-US" noProof="0" dirty="0"/>
              <a:t>Add a picture here</a:t>
            </a:r>
          </a:p>
        </p:txBody>
      </p:sp>
      <p:sp>
        <p:nvSpPr>
          <p:cNvPr id="8" name="Oval 7">
            <a:extLst>
              <a:ext uri="{FF2B5EF4-FFF2-40B4-BE49-F238E27FC236}">
                <a16:creationId xmlns:a16="http://schemas.microsoft.com/office/drawing/2014/main" id="{4DAB0236-6C38-B34A-8F66-28042E6B5795}"/>
              </a:ext>
            </a:extLst>
          </p:cNvPr>
          <p:cNvSpPr/>
          <p:nvPr userDrawn="1"/>
        </p:nvSpPr>
        <p:spPr bwMode="auto">
          <a:xfrm>
            <a:off x="4655052" y="3846434"/>
            <a:ext cx="268591" cy="268366"/>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9" name="Freeform 8">
            <a:extLst>
              <a:ext uri="{FF2B5EF4-FFF2-40B4-BE49-F238E27FC236}">
                <a16:creationId xmlns:a16="http://schemas.microsoft.com/office/drawing/2014/main" id="{2222B2D3-BCA4-A346-9298-0E2A0DE651CB}"/>
              </a:ext>
            </a:extLst>
          </p:cNvPr>
          <p:cNvSpPr/>
          <p:nvPr userDrawn="1"/>
        </p:nvSpPr>
        <p:spPr bwMode="auto">
          <a:xfrm>
            <a:off x="4451220" y="4458758"/>
            <a:ext cx="1351982" cy="68107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4" name="Freeform 13">
            <a:extLst>
              <a:ext uri="{FF2B5EF4-FFF2-40B4-BE49-F238E27FC236}">
                <a16:creationId xmlns:a16="http://schemas.microsoft.com/office/drawing/2014/main" id="{728A1540-69AF-9D49-8BEA-D4D96958F324}"/>
              </a:ext>
            </a:extLst>
          </p:cNvPr>
          <p:cNvSpPr/>
          <p:nvPr userDrawn="1"/>
        </p:nvSpPr>
        <p:spPr bwMode="auto">
          <a:xfrm>
            <a:off x="4577880" y="4114800"/>
            <a:ext cx="682957" cy="34395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Tree>
    <p:extLst>
      <p:ext uri="{BB962C8B-B14F-4D97-AF65-F5344CB8AC3E}">
        <p14:creationId xmlns:p14="http://schemas.microsoft.com/office/powerpoint/2010/main" val="126614918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Encabezado de sección">
    <p:bg>
      <p:bgPr>
        <a:solidFill>
          <a:srgbClr val="DDE4E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2801938"/>
            <a:ext cx="3632201" cy="1021556"/>
          </a:xfrm>
          <a:prstGeom prst="rect">
            <a:avLst/>
          </a:prstGeom>
        </p:spPr>
        <p:txBody>
          <a:bodyPr anchor="t" anchorCtr="0">
            <a:normAutofit/>
          </a:bodyPr>
          <a:lstStyle>
            <a:lvl1pPr algn="l">
              <a:defRPr sz="1400" b="0" i="0" cap="none" baseline="0">
                <a:solidFill>
                  <a:srgbClr val="2167AE"/>
                </a:solidFill>
                <a:latin typeface="Arial" panose="020B0604020202020204" pitchFamily="34" charset="0"/>
                <a:cs typeface="Arial" panose="020B0604020202020204" pitchFamily="34" charset="0"/>
              </a:defRPr>
            </a:lvl1pPr>
          </a:lstStyle>
          <a:p>
            <a:r>
              <a:rPr lang="en-GB" noProof="0" dirty="0"/>
              <a:t>Section subtitle</a:t>
            </a:r>
          </a:p>
        </p:txBody>
      </p:sp>
      <p:sp>
        <p:nvSpPr>
          <p:cNvPr id="3" name="Text Placeholder 2"/>
          <p:cNvSpPr>
            <a:spLocks noGrp="1"/>
          </p:cNvSpPr>
          <p:nvPr>
            <p:ph type="body" idx="1" hasCustomPrompt="1"/>
          </p:nvPr>
        </p:nvSpPr>
        <p:spPr>
          <a:xfrm>
            <a:off x="250825" y="1586306"/>
            <a:ext cx="3632200" cy="948932"/>
          </a:xfrm>
          <a:prstGeom prst="rect">
            <a:avLst/>
          </a:prstGeom>
        </p:spPr>
        <p:txBody>
          <a:bodyPr anchor="b">
            <a:normAutofit/>
          </a:bodyPr>
          <a:lstStyle>
            <a:lvl1pPr marL="0" indent="0">
              <a:buNone/>
              <a:defRPr lang="en-GB" sz="2400" b="0" i="0" cap="none" baseline="0" dirty="0">
                <a:solidFill>
                  <a:srgbClr val="2167AE"/>
                </a:solidFill>
                <a:latin typeface="Arial" panose="020B0604020202020204" pitchFamily="34" charset="0"/>
                <a:ea typeface="+mj-ea"/>
                <a:cs typeface="Arial" panose="020B0604020202020204" pitchFamily="34" charset="0"/>
              </a:defRPr>
            </a:lvl1pPr>
            <a:lvl2pPr marL="342854" indent="0">
              <a:buNone/>
              <a:defRPr sz="1350"/>
            </a:lvl2pPr>
            <a:lvl3pPr marL="685709" indent="0">
              <a:buNone/>
              <a:defRPr sz="1200"/>
            </a:lvl3pPr>
            <a:lvl4pPr marL="1028563" indent="0">
              <a:buNone/>
              <a:defRPr sz="1050"/>
            </a:lvl4pPr>
            <a:lvl5pPr marL="1371417" indent="0">
              <a:buNone/>
              <a:defRPr sz="1050"/>
            </a:lvl5pPr>
            <a:lvl6pPr marL="1714271" indent="0">
              <a:buNone/>
              <a:defRPr sz="1050"/>
            </a:lvl6pPr>
            <a:lvl7pPr marL="2057126" indent="0">
              <a:buNone/>
              <a:defRPr sz="1050"/>
            </a:lvl7pPr>
            <a:lvl8pPr marL="2399980" indent="0">
              <a:buNone/>
              <a:defRPr sz="1050"/>
            </a:lvl8pPr>
            <a:lvl9pPr marL="2742834" indent="0">
              <a:buNone/>
              <a:defRPr sz="1050"/>
            </a:lvl9pPr>
          </a:lstStyle>
          <a:p>
            <a:pPr lvl="0"/>
            <a:r>
              <a:rPr lang="en-GB" dirty="0"/>
              <a:t>Section title</a:t>
            </a:r>
          </a:p>
        </p:txBody>
      </p:sp>
      <p:grpSp>
        <p:nvGrpSpPr>
          <p:cNvPr id="15" name="Group 14">
            <a:extLst>
              <a:ext uri="{FF2B5EF4-FFF2-40B4-BE49-F238E27FC236}">
                <a16:creationId xmlns:a16="http://schemas.microsoft.com/office/drawing/2014/main" id="{C0302BCC-F598-F64F-88FF-619832C52B5C}"/>
              </a:ext>
            </a:extLst>
          </p:cNvPr>
          <p:cNvGrpSpPr/>
          <p:nvPr userDrawn="1"/>
        </p:nvGrpSpPr>
        <p:grpSpPr>
          <a:xfrm>
            <a:off x="5625883" y="1812897"/>
            <a:ext cx="2016341" cy="3330607"/>
            <a:chOff x="5095503" y="936809"/>
            <a:chExt cx="2546722" cy="4206695"/>
          </a:xfrm>
        </p:grpSpPr>
        <p:sp>
          <p:nvSpPr>
            <p:cNvPr id="8" name="Freeform 7">
              <a:extLst>
                <a:ext uri="{FF2B5EF4-FFF2-40B4-BE49-F238E27FC236}">
                  <a16:creationId xmlns:a16="http://schemas.microsoft.com/office/drawing/2014/main" id="{10DA9B28-1C2A-5B4C-85F6-AE0822931868}"/>
                </a:ext>
              </a:extLst>
            </p:cNvPr>
            <p:cNvSpPr/>
            <p:nvPr userDrawn="1"/>
          </p:nvSpPr>
          <p:spPr bwMode="auto">
            <a:xfrm rot="8100000">
              <a:off x="5095503" y="4237218"/>
              <a:ext cx="1171862" cy="590186"/>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9" name="Oval 8">
              <a:extLst>
                <a:ext uri="{FF2B5EF4-FFF2-40B4-BE49-F238E27FC236}">
                  <a16:creationId xmlns:a16="http://schemas.microsoft.com/office/drawing/2014/main" id="{376A0DBC-7B6F-9444-8760-2FDE5468F542}"/>
                </a:ext>
              </a:extLst>
            </p:cNvPr>
            <p:cNvSpPr/>
            <p:nvPr userDrawn="1"/>
          </p:nvSpPr>
          <p:spPr bwMode="auto">
            <a:xfrm>
              <a:off x="5272529" y="1456396"/>
              <a:ext cx="2369696" cy="2367098"/>
            </a:xfrm>
            <a:prstGeom prst="ellipse">
              <a:avLst/>
            </a:pr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0" name="Oval 9">
              <a:extLst>
                <a:ext uri="{FF2B5EF4-FFF2-40B4-BE49-F238E27FC236}">
                  <a16:creationId xmlns:a16="http://schemas.microsoft.com/office/drawing/2014/main" id="{D0431036-9453-6145-9F12-7684F5D8CDCF}"/>
                </a:ext>
              </a:extLst>
            </p:cNvPr>
            <p:cNvSpPr/>
            <p:nvPr userDrawn="1"/>
          </p:nvSpPr>
          <p:spPr bwMode="auto">
            <a:xfrm>
              <a:off x="5892448" y="4571544"/>
              <a:ext cx="572439" cy="571960"/>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1" name="Freeform 10">
              <a:extLst>
                <a:ext uri="{FF2B5EF4-FFF2-40B4-BE49-F238E27FC236}">
                  <a16:creationId xmlns:a16="http://schemas.microsoft.com/office/drawing/2014/main" id="{195355C8-5C4A-544E-85A1-E53462F97667}"/>
                </a:ext>
              </a:extLst>
            </p:cNvPr>
            <p:cNvSpPr/>
            <p:nvPr userDrawn="1"/>
          </p:nvSpPr>
          <p:spPr bwMode="auto">
            <a:xfrm rot="16200000">
              <a:off x="6137283" y="4151103"/>
              <a:ext cx="1320003" cy="664795"/>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167AE"/>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2" name="Freeform 11">
              <a:extLst>
                <a:ext uri="{FF2B5EF4-FFF2-40B4-BE49-F238E27FC236}">
                  <a16:creationId xmlns:a16="http://schemas.microsoft.com/office/drawing/2014/main" id="{0A83C33D-3EC3-1841-8CB9-445A5CDCCE79}"/>
                </a:ext>
              </a:extLst>
            </p:cNvPr>
            <p:cNvSpPr/>
            <p:nvPr userDrawn="1"/>
          </p:nvSpPr>
          <p:spPr bwMode="auto">
            <a:xfrm rot="2700000">
              <a:off x="6199058" y="1096891"/>
              <a:ext cx="645014" cy="324849"/>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3366E"/>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3" name="Oval 12">
              <a:extLst>
                <a:ext uri="{FF2B5EF4-FFF2-40B4-BE49-F238E27FC236}">
                  <a16:creationId xmlns:a16="http://schemas.microsoft.com/office/drawing/2014/main" id="{E58F14C2-52E3-5644-9710-4893BBA72AB0}"/>
                </a:ext>
              </a:extLst>
            </p:cNvPr>
            <p:cNvSpPr/>
            <p:nvPr userDrawn="1"/>
          </p:nvSpPr>
          <p:spPr bwMode="auto">
            <a:xfrm>
              <a:off x="6139218" y="1246560"/>
              <a:ext cx="226084" cy="225894"/>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grpSp>
      <p:pic>
        <p:nvPicPr>
          <p:cNvPr id="16" name="Picture 15">
            <a:extLst>
              <a:ext uri="{FF2B5EF4-FFF2-40B4-BE49-F238E27FC236}">
                <a16:creationId xmlns:a16="http://schemas.microsoft.com/office/drawing/2014/main" id="{0020C8A2-0496-499F-B444-7E499624A1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0631" y="119436"/>
            <a:ext cx="1330325" cy="512964"/>
          </a:xfrm>
          <a:prstGeom prst="rect">
            <a:avLst/>
          </a:prstGeom>
        </p:spPr>
      </p:pic>
    </p:spTree>
    <p:extLst>
      <p:ext uri="{BB962C8B-B14F-4D97-AF65-F5344CB8AC3E}">
        <p14:creationId xmlns:p14="http://schemas.microsoft.com/office/powerpoint/2010/main" val="397786402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rgbClr val="DDE4E3"/>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0824" y="2186608"/>
            <a:ext cx="3632201" cy="2590179"/>
          </a:xfrm>
          <a:prstGeom prst="rect">
            <a:avLst/>
          </a:prstGeom>
        </p:spPr>
        <p:txBody>
          <a:bodyPr anchor="t" anchorCtr="0">
            <a:normAutofit/>
          </a:bodyPr>
          <a:lstStyle>
            <a:lvl1pPr>
              <a:defRPr sz="2800" b="0" i="0">
                <a:solidFill>
                  <a:srgbClr val="2167AE"/>
                </a:solidFill>
                <a:latin typeface="Arial" panose="020B0604020202020204" pitchFamily="34" charset="0"/>
                <a:cs typeface="Arial" panose="020B0604020202020204" pitchFamily="34" charset="0"/>
              </a:defRPr>
            </a:lvl1pPr>
          </a:lstStyle>
          <a:p>
            <a:r>
              <a:rPr lang="en-GB" noProof="0" dirty="0"/>
              <a:t>Thank you</a:t>
            </a:r>
          </a:p>
        </p:txBody>
      </p:sp>
      <p:sp>
        <p:nvSpPr>
          <p:cNvPr id="5" name="Freeform 4">
            <a:extLst>
              <a:ext uri="{FF2B5EF4-FFF2-40B4-BE49-F238E27FC236}">
                <a16:creationId xmlns:a16="http://schemas.microsoft.com/office/drawing/2014/main" id="{A51A1BF2-3F27-984E-8214-2EEEE3F2394C}"/>
              </a:ext>
            </a:extLst>
          </p:cNvPr>
          <p:cNvSpPr/>
          <p:nvPr userDrawn="1"/>
        </p:nvSpPr>
        <p:spPr bwMode="auto">
          <a:xfrm rot="8100000">
            <a:off x="5274849" y="4102751"/>
            <a:ext cx="1343495" cy="676626"/>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7" name="Oval 6">
            <a:extLst>
              <a:ext uri="{FF2B5EF4-FFF2-40B4-BE49-F238E27FC236}">
                <a16:creationId xmlns:a16="http://schemas.microsoft.com/office/drawing/2014/main" id="{44CCD223-BA2A-CD4E-8C35-27956ACD25B2}"/>
              </a:ext>
            </a:extLst>
          </p:cNvPr>
          <p:cNvSpPr/>
          <p:nvPr userDrawn="1"/>
        </p:nvSpPr>
        <p:spPr bwMode="auto">
          <a:xfrm>
            <a:off x="6369257" y="4212337"/>
            <a:ext cx="932183" cy="931161"/>
          </a:xfrm>
          <a:prstGeom prst="ellipse">
            <a:avLst/>
          </a:pr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1" name="Oval 10">
            <a:extLst>
              <a:ext uri="{FF2B5EF4-FFF2-40B4-BE49-F238E27FC236}">
                <a16:creationId xmlns:a16="http://schemas.microsoft.com/office/drawing/2014/main" id="{244D2FA0-A95C-DB48-A783-8283021BF6B0}"/>
              </a:ext>
            </a:extLst>
          </p:cNvPr>
          <p:cNvSpPr/>
          <p:nvPr userDrawn="1"/>
        </p:nvSpPr>
        <p:spPr bwMode="auto">
          <a:xfrm>
            <a:off x="5137149" y="4727775"/>
            <a:ext cx="416072" cy="415724"/>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2" name="Freeform 11">
            <a:extLst>
              <a:ext uri="{FF2B5EF4-FFF2-40B4-BE49-F238E27FC236}">
                <a16:creationId xmlns:a16="http://schemas.microsoft.com/office/drawing/2014/main" id="{2D5D536E-2056-0541-A365-00833164DF53}"/>
              </a:ext>
            </a:extLst>
          </p:cNvPr>
          <p:cNvSpPr/>
          <p:nvPr userDrawn="1"/>
        </p:nvSpPr>
        <p:spPr bwMode="auto">
          <a:xfrm rot="13500000">
            <a:off x="6668959" y="3647788"/>
            <a:ext cx="1924227" cy="96910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167AE"/>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3" name="Freeform 12">
            <a:extLst>
              <a:ext uri="{FF2B5EF4-FFF2-40B4-BE49-F238E27FC236}">
                <a16:creationId xmlns:a16="http://schemas.microsoft.com/office/drawing/2014/main" id="{E8D140B7-FB48-ED40-882B-C3CF0F17C473}"/>
              </a:ext>
            </a:extLst>
          </p:cNvPr>
          <p:cNvSpPr/>
          <p:nvPr userDrawn="1"/>
        </p:nvSpPr>
        <p:spPr bwMode="auto">
          <a:xfrm rot="10800000">
            <a:off x="8093027" y="4618476"/>
            <a:ext cx="1042473" cy="525022"/>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DBD3BC"/>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pic>
        <p:nvPicPr>
          <p:cNvPr id="9" name="Picture 8">
            <a:extLst>
              <a:ext uri="{FF2B5EF4-FFF2-40B4-BE49-F238E27FC236}">
                <a16:creationId xmlns:a16="http://schemas.microsoft.com/office/drawing/2014/main" id="{8969E665-211D-45CA-8D9D-31A6E35D85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0631" y="119436"/>
            <a:ext cx="1330325" cy="512964"/>
          </a:xfrm>
          <a:prstGeom prst="rect">
            <a:avLst/>
          </a:prstGeom>
        </p:spPr>
      </p:pic>
    </p:spTree>
    <p:extLst>
      <p:ext uri="{BB962C8B-B14F-4D97-AF65-F5344CB8AC3E}">
        <p14:creationId xmlns:p14="http://schemas.microsoft.com/office/powerpoint/2010/main" val="1684945856"/>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E8E703-547A-4F0B-8EB3-056CC15F9A81}"/>
              </a:ext>
            </a:extLst>
          </p:cNvPr>
          <p:cNvGraphicFramePr>
            <a:graphicFrameLocks noChangeAspect="1"/>
          </p:cNvGraphicFramePr>
          <p:nvPr userDrawn="1">
            <p:custDataLst>
              <p:tags r:id="rId1"/>
            </p:custDataLst>
            <p:extLst>
              <p:ext uri="{D42A27DB-BD31-4B8C-83A1-F6EECF244321}">
                <p14:modId xmlns:p14="http://schemas.microsoft.com/office/powerpoint/2010/main" val="12152573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96E8E703-547A-4F0B-8EB3-056CC15F9A8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F415760-2ED3-488E-A3FF-640C0A6E7678}"/>
              </a:ext>
            </a:extLst>
          </p:cNvPr>
          <p:cNvSpPr/>
          <p:nvPr userDrawn="1">
            <p:custDataLst>
              <p:tags r:id="rId2"/>
            </p:custDataLst>
          </p:nvPr>
        </p:nvSpPr>
        <p:spPr bwMode="auto">
          <a:xfrm>
            <a:off x="0" y="0"/>
            <a:ext cx="119047" cy="119063"/>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709"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a:ln>
                <a:noFill/>
              </a:ln>
              <a:effectLst/>
              <a:latin typeface="Arial" panose="020B0604020202020204" pitchFamily="34" charset="0"/>
              <a:ea typeface="+mj-ea"/>
              <a:cs typeface="+mj-cs"/>
              <a:sym typeface="Arial" panose="020B0604020202020204" pitchFamily="34" charset="0"/>
            </a:endParaRPr>
          </a:p>
        </p:txBody>
      </p:sp>
      <p:sp>
        <p:nvSpPr>
          <p:cNvPr id="6" name="Title 5"/>
          <p:cNvSpPr>
            <a:spLocks noGrp="1"/>
          </p:cNvSpPr>
          <p:nvPr>
            <p:ph type="title"/>
          </p:nvPr>
        </p:nvSpPr>
        <p:spPr/>
        <p:txBody>
          <a:bodyPr vert="horz"/>
          <a:lstStyle/>
          <a:p>
            <a:r>
              <a:rPr lang="en-US"/>
              <a:t>Click to edit Master title style</a:t>
            </a:r>
          </a:p>
        </p:txBody>
      </p:sp>
      <p:sp>
        <p:nvSpPr>
          <p:cNvPr id="8" name="Subtitle 2"/>
          <p:cNvSpPr>
            <a:spLocks noGrp="1"/>
          </p:cNvSpPr>
          <p:nvPr>
            <p:ph type="subTitle" idx="13"/>
          </p:nvPr>
        </p:nvSpPr>
        <p:spPr>
          <a:xfrm>
            <a:off x="302361" y="517242"/>
            <a:ext cx="7656204" cy="297000"/>
          </a:xfrm>
          <a:prstGeom prst="rect">
            <a:avLst/>
          </a:prstGeom>
        </p:spPr>
        <p:txBody>
          <a:bodyPr/>
          <a:lstStyle>
            <a:lvl1pPr marL="0" indent="0" algn="l">
              <a:buNone/>
              <a:defRPr sz="1500">
                <a:solidFill>
                  <a:schemeClr val="tx1"/>
                </a:solidFill>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US"/>
              <a:t>Click to edit Master subtitle style</a:t>
            </a:r>
          </a:p>
        </p:txBody>
      </p:sp>
      <p:sp>
        <p:nvSpPr>
          <p:cNvPr id="7" name="Footer Placeholder 6"/>
          <p:cNvSpPr>
            <a:spLocks noGrp="1"/>
          </p:cNvSpPr>
          <p:nvPr>
            <p:ph type="ftr" sz="quarter" idx="15"/>
          </p:nvPr>
        </p:nvSpPr>
        <p:spPr>
          <a:xfrm>
            <a:off x="2402688" y="4924801"/>
            <a:ext cx="5669262" cy="113400"/>
          </a:xfrm>
          <a:prstGeom prst="rect">
            <a:avLst/>
          </a:prstGeom>
        </p:spPr>
        <p:txBody>
          <a:bodyPr/>
          <a:lstStyle/>
          <a:p>
            <a:endParaRPr lang="en-US"/>
          </a:p>
        </p:txBody>
      </p:sp>
      <p:sp>
        <p:nvSpPr>
          <p:cNvPr id="9" name="Slide Number Placeholder 8"/>
          <p:cNvSpPr>
            <a:spLocks noGrp="1"/>
          </p:cNvSpPr>
          <p:nvPr>
            <p:ph type="sldNum" sz="quarter" idx="16"/>
          </p:nvPr>
        </p:nvSpPr>
        <p:spPr>
          <a:xfrm>
            <a:off x="8577073" y="4924800"/>
            <a:ext cx="269965" cy="113400"/>
          </a:xfrm>
        </p:spPr>
        <p:txBody>
          <a:bodyPr anchor="t"/>
          <a:lstStyle>
            <a:lvl1pPr marL="0" algn="r" defTabSz="685709" rtl="0" eaLnBrk="1" latinLnBrk="0" hangingPunct="1">
              <a:buNone/>
              <a:defRPr b="0"/>
            </a:lvl1pPr>
          </a:lstStyle>
          <a:p>
            <a:fld id="{1AE80639-7A0D-473C-9302-EF34B7D0A483}" type="slidenum">
              <a:rPr lang="en-US" smtClean="0"/>
              <a:pPr/>
              <a:t>‹#›</a:t>
            </a:fld>
            <a:endParaRPr lang="en-US"/>
          </a:p>
        </p:txBody>
      </p:sp>
    </p:spTree>
    <p:extLst>
      <p:ext uri="{BB962C8B-B14F-4D97-AF65-F5344CB8AC3E}">
        <p14:creationId xmlns:p14="http://schemas.microsoft.com/office/powerpoint/2010/main" val="4120505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Light Blue">
    <p:bg>
      <p:bgPr>
        <a:solidFill>
          <a:srgbClr val="91BFE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BADF149-4970-FA49-9E2C-FA297EA714BC}"/>
              </a:ext>
            </a:extLst>
          </p:cNvPr>
          <p:cNvSpPr>
            <a:spLocks noGrp="1"/>
          </p:cNvSpPr>
          <p:nvPr>
            <p:ph type="pic" sz="quarter" idx="12" hasCustomPrompt="1"/>
          </p:nvPr>
        </p:nvSpPr>
        <p:spPr>
          <a:xfrm>
            <a:off x="5836515" y="1835584"/>
            <a:ext cx="3307485" cy="3307916"/>
          </a:xfrm>
          <a:prstGeom prst="ellipse">
            <a:avLst/>
          </a:prstGeom>
        </p:spPr>
        <p:txBody>
          <a:bodyPr/>
          <a:lstStyle>
            <a:lvl1pPr algn="ctr">
              <a:buNone/>
              <a:defRPr>
                <a:solidFill>
                  <a:srgbClr val="2167AE"/>
                </a:solidFill>
              </a:defRPr>
            </a:lvl1pPr>
          </a:lstStyle>
          <a:p>
            <a:r>
              <a:rPr lang="en-GB" dirty="0"/>
              <a:t>Add a picture here</a:t>
            </a:r>
          </a:p>
        </p:txBody>
      </p:sp>
      <p:pic>
        <p:nvPicPr>
          <p:cNvPr id="17" name="Picture 16">
            <a:extLst>
              <a:ext uri="{FF2B5EF4-FFF2-40B4-BE49-F238E27FC236}">
                <a16:creationId xmlns:a16="http://schemas.microsoft.com/office/drawing/2014/main" id="{662C25AB-DC38-A348-8382-D417E3A910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8262" y="119436"/>
            <a:ext cx="1330325" cy="512964"/>
          </a:xfrm>
          <a:prstGeom prst="rect">
            <a:avLst/>
          </a:prstGeom>
        </p:spPr>
      </p:pic>
      <p:sp>
        <p:nvSpPr>
          <p:cNvPr id="14" name="Rectangle 2">
            <a:extLst>
              <a:ext uri="{FF2B5EF4-FFF2-40B4-BE49-F238E27FC236}">
                <a16:creationId xmlns:a16="http://schemas.microsoft.com/office/drawing/2014/main" id="{931AACF1-B63F-7949-BCDC-E2A8941AFDDA}"/>
              </a:ext>
            </a:extLst>
          </p:cNvPr>
          <p:cNvSpPr>
            <a:spLocks noGrp="1" noChangeArrowheads="1"/>
          </p:cNvSpPr>
          <p:nvPr>
            <p:ph type="ctrTitle" hasCustomPrompt="1"/>
          </p:nvPr>
        </p:nvSpPr>
        <p:spPr>
          <a:xfrm>
            <a:off x="250824" y="828675"/>
            <a:ext cx="4886325" cy="1706564"/>
          </a:xfrm>
          <a:prstGeom prst="rect">
            <a:avLst/>
          </a:prstGeom>
          <a:ln/>
        </p:spPr>
        <p:txBody>
          <a:bodyPr anchor="b">
            <a:normAutofit/>
          </a:bodyPr>
          <a:lstStyle>
            <a:lvl1pPr algn="l">
              <a:defRPr sz="2800" b="0" i="0">
                <a:solidFill>
                  <a:srgbClr val="2167AE"/>
                </a:solidFill>
                <a:latin typeface="Arial" panose="020B0604020202020204" pitchFamily="34" charset="0"/>
                <a:cs typeface="Arial" panose="020B0604020202020204" pitchFamily="34" charset="0"/>
              </a:defRPr>
            </a:lvl1pPr>
          </a:lstStyle>
          <a:p>
            <a:r>
              <a:rPr lang="en-GB" dirty="0"/>
              <a:t>Headline</a:t>
            </a:r>
            <a:endParaRPr lang="de-CH" dirty="0"/>
          </a:p>
        </p:txBody>
      </p:sp>
      <p:sp>
        <p:nvSpPr>
          <p:cNvPr id="16" name="Text Placeholder 13">
            <a:extLst>
              <a:ext uri="{FF2B5EF4-FFF2-40B4-BE49-F238E27FC236}">
                <a16:creationId xmlns:a16="http://schemas.microsoft.com/office/drawing/2014/main" id="{9E60835F-6304-4047-8C94-638E3B07B416}"/>
              </a:ext>
            </a:extLst>
          </p:cNvPr>
          <p:cNvSpPr>
            <a:spLocks noGrp="1"/>
          </p:cNvSpPr>
          <p:nvPr>
            <p:ph type="body" sz="quarter" idx="11" hasCustomPrompt="1"/>
          </p:nvPr>
        </p:nvSpPr>
        <p:spPr>
          <a:xfrm>
            <a:off x="250825" y="2797400"/>
            <a:ext cx="3631216" cy="692142"/>
          </a:xfrm>
          <a:prstGeom prst="rect">
            <a:avLst/>
          </a:prstGeom>
        </p:spPr>
        <p:txBody>
          <a:bodyPr>
            <a:normAutofit/>
          </a:bodyPr>
          <a:lstStyle>
            <a:lvl1pPr>
              <a:buNone/>
              <a:defRPr sz="1600" b="0" i="0">
                <a:solidFill>
                  <a:srgbClr val="2167AE"/>
                </a:solidFill>
                <a:latin typeface="Arial" panose="020B0604020202020204" pitchFamily="34" charset="0"/>
                <a:cs typeface="Arial" panose="020B0604020202020204" pitchFamily="34" charset="0"/>
              </a:defRPr>
            </a:lvl1pPr>
          </a:lstStyle>
          <a:p>
            <a:pPr lvl="0"/>
            <a:r>
              <a:rPr lang="en-GB" dirty="0"/>
              <a:t>Subtitle</a:t>
            </a:r>
          </a:p>
        </p:txBody>
      </p:sp>
      <p:sp>
        <p:nvSpPr>
          <p:cNvPr id="10" name="Subtitle 2">
            <a:extLst>
              <a:ext uri="{FF2B5EF4-FFF2-40B4-BE49-F238E27FC236}">
                <a16:creationId xmlns:a16="http://schemas.microsoft.com/office/drawing/2014/main" id="{BAD99B2B-69BD-854D-95D7-4AAEF9501E97}"/>
              </a:ext>
            </a:extLst>
          </p:cNvPr>
          <p:cNvSpPr>
            <a:spLocks noGrp="1"/>
          </p:cNvSpPr>
          <p:nvPr>
            <p:ph type="subTitle" idx="1" hasCustomPrompt="1"/>
          </p:nvPr>
        </p:nvSpPr>
        <p:spPr>
          <a:xfrm>
            <a:off x="253496" y="3753591"/>
            <a:ext cx="3628555" cy="611706"/>
          </a:xfrm>
          <a:prstGeom prst="rect">
            <a:avLst/>
          </a:prstGeom>
        </p:spPr>
        <p:txBody>
          <a:bodyPr anchor="b">
            <a:normAutofit/>
          </a:bodyPr>
          <a:lstStyle>
            <a:lvl1pPr marL="0" indent="0" algn="l">
              <a:buNone/>
              <a:defRPr sz="1000" b="0" i="0">
                <a:solidFill>
                  <a:srgbClr val="2167AE"/>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s-ES" dirty="0"/>
              <a:t>Date</a:t>
            </a:r>
            <a:br>
              <a:rPr lang="es-ES" dirty="0"/>
            </a:br>
            <a:r>
              <a:rPr lang="es-ES" dirty="0" err="1"/>
              <a:t>Name</a:t>
            </a:r>
            <a:r>
              <a:rPr lang="es-ES" dirty="0"/>
              <a:t> of </a:t>
            </a:r>
            <a:r>
              <a:rPr lang="es-ES" dirty="0" err="1"/>
              <a:t>moderator</a:t>
            </a:r>
            <a:br>
              <a:rPr lang="es-ES" dirty="0"/>
            </a:br>
            <a:r>
              <a:rPr lang="es-ES" dirty="0" err="1"/>
              <a:t>Organizational</a:t>
            </a:r>
            <a:r>
              <a:rPr lang="es-ES" dirty="0"/>
              <a:t> </a:t>
            </a:r>
            <a:r>
              <a:rPr lang="es-ES" dirty="0" err="1"/>
              <a:t>Unit</a:t>
            </a:r>
            <a:endParaRPr lang="de-CH" dirty="0"/>
          </a:p>
        </p:txBody>
      </p:sp>
      <p:sp>
        <p:nvSpPr>
          <p:cNvPr id="8" name="Oval 7">
            <a:extLst>
              <a:ext uri="{FF2B5EF4-FFF2-40B4-BE49-F238E27FC236}">
                <a16:creationId xmlns:a16="http://schemas.microsoft.com/office/drawing/2014/main" id="{F9C6CFC7-39E6-6541-A2EA-2D83A3D67E32}"/>
              </a:ext>
            </a:extLst>
          </p:cNvPr>
          <p:cNvSpPr/>
          <p:nvPr userDrawn="1"/>
        </p:nvSpPr>
        <p:spPr bwMode="auto">
          <a:xfrm>
            <a:off x="4572000" y="4282636"/>
            <a:ext cx="410956" cy="410612"/>
          </a:xfrm>
          <a:prstGeom prst="ellipse">
            <a:avLst/>
          </a:prstGeom>
          <a:solidFill>
            <a:srgbClr val="23366E"/>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9" name="Freeform 8">
            <a:extLst>
              <a:ext uri="{FF2B5EF4-FFF2-40B4-BE49-F238E27FC236}">
                <a16:creationId xmlns:a16="http://schemas.microsoft.com/office/drawing/2014/main" id="{49593C37-7F78-FF48-B4BF-D88044317FAB}"/>
              </a:ext>
            </a:extLst>
          </p:cNvPr>
          <p:cNvSpPr/>
          <p:nvPr userDrawn="1"/>
        </p:nvSpPr>
        <p:spPr bwMode="auto">
          <a:xfrm rot="16200000">
            <a:off x="5033079" y="4126970"/>
            <a:ext cx="1351982" cy="681078"/>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1" name="Freeform 10">
            <a:extLst>
              <a:ext uri="{FF2B5EF4-FFF2-40B4-BE49-F238E27FC236}">
                <a16:creationId xmlns:a16="http://schemas.microsoft.com/office/drawing/2014/main" id="{8E1C966B-BF32-CE43-AD37-344DBD376733}"/>
              </a:ext>
            </a:extLst>
          </p:cNvPr>
          <p:cNvSpPr/>
          <p:nvPr userDrawn="1"/>
        </p:nvSpPr>
        <p:spPr bwMode="auto">
          <a:xfrm>
            <a:off x="4467647" y="4693248"/>
            <a:ext cx="900884" cy="45371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1FB1E6"/>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
        <p:nvSpPr>
          <p:cNvPr id="12" name="Freeform 11">
            <a:extLst>
              <a:ext uri="{FF2B5EF4-FFF2-40B4-BE49-F238E27FC236}">
                <a16:creationId xmlns:a16="http://schemas.microsoft.com/office/drawing/2014/main" id="{4B1587FE-6C50-F240-A39C-AB067C67E9F6}"/>
              </a:ext>
            </a:extLst>
          </p:cNvPr>
          <p:cNvSpPr/>
          <p:nvPr userDrawn="1"/>
        </p:nvSpPr>
        <p:spPr bwMode="auto">
          <a:xfrm rot="1800000">
            <a:off x="7448887" y="1522224"/>
            <a:ext cx="634326" cy="319466"/>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1FB1E6"/>
          </a:solidFill>
          <a:ln w="9525" cap="flat" cmpd="sng" algn="ctr">
            <a:noFill/>
            <a:prstDash val="solid"/>
            <a:round/>
            <a:headEnd type="none" w="med" len="med"/>
            <a:tailEnd type="none" w="med" len="med"/>
          </a:ln>
          <a:effectLst/>
        </p:spPr>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marL="0" marR="0" indent="0" algn="l" defTabSz="685709" rtl="0" eaLnBrk="1" fontAlgn="base" latinLnBrk="0" hangingPunct="1">
              <a:lnSpc>
                <a:spcPct val="100000"/>
              </a:lnSpc>
              <a:spcBef>
                <a:spcPct val="0"/>
              </a:spcBef>
              <a:spcAft>
                <a:spcPct val="0"/>
              </a:spcAft>
              <a:buClrTx/>
              <a:buSzTx/>
              <a:buFontTx/>
              <a:buNone/>
              <a:tabLst/>
            </a:pPr>
            <a:endParaRPr kumimoji="0" lang="en-ES" sz="1500" b="0" i="0" u="none" strike="noStrike" cap="none" normalizeH="0" baseline="0">
              <a:ln>
                <a:noFill/>
              </a:ln>
              <a:effectLst/>
              <a:latin typeface="Zurich Sans" panose="02000000000000000000" pitchFamily="2" charset="0"/>
            </a:endParaRPr>
          </a:p>
        </p:txBody>
      </p:sp>
    </p:spTree>
    <p:extLst>
      <p:ext uri="{BB962C8B-B14F-4D97-AF65-F5344CB8AC3E}">
        <p14:creationId xmlns:p14="http://schemas.microsoft.com/office/powerpoint/2010/main" val="410733276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_Light Blue">
    <p:bg>
      <p:bgPr>
        <a:solidFill>
          <a:srgbClr val="DBD3BC"/>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BADF149-4970-FA49-9E2C-FA297EA714BC}"/>
              </a:ext>
            </a:extLst>
          </p:cNvPr>
          <p:cNvSpPr>
            <a:spLocks noGrp="1"/>
          </p:cNvSpPr>
          <p:nvPr>
            <p:ph type="pic" sz="quarter" idx="12" hasCustomPrompt="1"/>
          </p:nvPr>
        </p:nvSpPr>
        <p:spPr>
          <a:xfrm>
            <a:off x="5231179" y="1139760"/>
            <a:ext cx="4314263" cy="4314825"/>
          </a:xfrm>
          <a:prstGeom prst="ellipse">
            <a:avLst/>
          </a:prstGeom>
        </p:spPr>
        <p:txBody>
          <a:bodyPr/>
          <a:lstStyle>
            <a:lvl1pPr algn="ctr">
              <a:buNone/>
              <a:defRPr>
                <a:solidFill>
                  <a:srgbClr val="2167AE"/>
                </a:solidFill>
              </a:defRPr>
            </a:lvl1pPr>
          </a:lstStyle>
          <a:p>
            <a:r>
              <a:rPr lang="en-GB" dirty="0"/>
              <a:t>Add a picture here</a:t>
            </a:r>
          </a:p>
        </p:txBody>
      </p:sp>
      <p:pic>
        <p:nvPicPr>
          <p:cNvPr id="17" name="Picture 16">
            <a:extLst>
              <a:ext uri="{FF2B5EF4-FFF2-40B4-BE49-F238E27FC236}">
                <a16:creationId xmlns:a16="http://schemas.microsoft.com/office/drawing/2014/main" id="{662C25AB-DC38-A348-8382-D417E3A910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8262" y="119436"/>
            <a:ext cx="1330325" cy="512964"/>
          </a:xfrm>
          <a:prstGeom prst="rect">
            <a:avLst/>
          </a:prstGeom>
        </p:spPr>
      </p:pic>
      <p:sp>
        <p:nvSpPr>
          <p:cNvPr id="14" name="Rectangle 2">
            <a:extLst>
              <a:ext uri="{FF2B5EF4-FFF2-40B4-BE49-F238E27FC236}">
                <a16:creationId xmlns:a16="http://schemas.microsoft.com/office/drawing/2014/main" id="{931AACF1-B63F-7949-BCDC-E2A8941AFDDA}"/>
              </a:ext>
            </a:extLst>
          </p:cNvPr>
          <p:cNvSpPr>
            <a:spLocks noGrp="1" noChangeArrowheads="1"/>
          </p:cNvSpPr>
          <p:nvPr>
            <p:ph type="ctrTitle" hasCustomPrompt="1"/>
          </p:nvPr>
        </p:nvSpPr>
        <p:spPr>
          <a:xfrm>
            <a:off x="250824" y="828675"/>
            <a:ext cx="4886325" cy="1706564"/>
          </a:xfrm>
          <a:prstGeom prst="rect">
            <a:avLst/>
          </a:prstGeom>
          <a:ln/>
        </p:spPr>
        <p:txBody>
          <a:bodyPr anchor="b">
            <a:normAutofit/>
          </a:bodyPr>
          <a:lstStyle>
            <a:lvl1pPr algn="l">
              <a:defRPr sz="2800" b="0" i="0">
                <a:solidFill>
                  <a:srgbClr val="2167AE"/>
                </a:solidFill>
                <a:latin typeface="Arial" panose="020B0604020202020204" pitchFamily="34" charset="0"/>
                <a:cs typeface="Arial" panose="020B0604020202020204" pitchFamily="34" charset="0"/>
              </a:defRPr>
            </a:lvl1pPr>
          </a:lstStyle>
          <a:p>
            <a:r>
              <a:rPr lang="en-GB" dirty="0"/>
              <a:t>Headline</a:t>
            </a:r>
            <a:endParaRPr lang="de-CH" dirty="0"/>
          </a:p>
        </p:txBody>
      </p:sp>
      <p:sp>
        <p:nvSpPr>
          <p:cNvPr id="16" name="Text Placeholder 13">
            <a:extLst>
              <a:ext uri="{FF2B5EF4-FFF2-40B4-BE49-F238E27FC236}">
                <a16:creationId xmlns:a16="http://schemas.microsoft.com/office/drawing/2014/main" id="{9E60835F-6304-4047-8C94-638E3B07B416}"/>
              </a:ext>
            </a:extLst>
          </p:cNvPr>
          <p:cNvSpPr>
            <a:spLocks noGrp="1"/>
          </p:cNvSpPr>
          <p:nvPr>
            <p:ph type="body" sz="quarter" idx="11" hasCustomPrompt="1"/>
          </p:nvPr>
        </p:nvSpPr>
        <p:spPr>
          <a:xfrm>
            <a:off x="250825" y="2797400"/>
            <a:ext cx="3631216" cy="692142"/>
          </a:xfrm>
          <a:prstGeom prst="rect">
            <a:avLst/>
          </a:prstGeom>
        </p:spPr>
        <p:txBody>
          <a:bodyPr>
            <a:normAutofit/>
          </a:bodyPr>
          <a:lstStyle>
            <a:lvl1pPr>
              <a:buNone/>
              <a:defRPr sz="1600" b="0" i="0">
                <a:solidFill>
                  <a:srgbClr val="2167AE"/>
                </a:solidFill>
                <a:latin typeface="Arial" panose="020B0604020202020204" pitchFamily="34" charset="0"/>
                <a:cs typeface="Arial" panose="020B0604020202020204" pitchFamily="34" charset="0"/>
              </a:defRPr>
            </a:lvl1pPr>
          </a:lstStyle>
          <a:p>
            <a:pPr lvl="0"/>
            <a:r>
              <a:rPr lang="en-GB" dirty="0"/>
              <a:t>Subtitle</a:t>
            </a:r>
          </a:p>
        </p:txBody>
      </p:sp>
      <p:sp>
        <p:nvSpPr>
          <p:cNvPr id="10" name="Subtitle 2">
            <a:extLst>
              <a:ext uri="{FF2B5EF4-FFF2-40B4-BE49-F238E27FC236}">
                <a16:creationId xmlns:a16="http://schemas.microsoft.com/office/drawing/2014/main" id="{BAD99B2B-69BD-854D-95D7-4AAEF9501E97}"/>
              </a:ext>
            </a:extLst>
          </p:cNvPr>
          <p:cNvSpPr>
            <a:spLocks noGrp="1"/>
          </p:cNvSpPr>
          <p:nvPr>
            <p:ph type="subTitle" idx="1" hasCustomPrompt="1"/>
          </p:nvPr>
        </p:nvSpPr>
        <p:spPr>
          <a:xfrm>
            <a:off x="253496" y="3753591"/>
            <a:ext cx="3628555" cy="611706"/>
          </a:xfrm>
          <a:prstGeom prst="rect">
            <a:avLst/>
          </a:prstGeom>
        </p:spPr>
        <p:txBody>
          <a:bodyPr anchor="b">
            <a:normAutofit/>
          </a:bodyPr>
          <a:lstStyle>
            <a:lvl1pPr marL="0" indent="0" algn="l">
              <a:buNone/>
              <a:defRPr sz="1000" b="0" i="0">
                <a:solidFill>
                  <a:srgbClr val="2167AE"/>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s-ES" dirty="0"/>
              <a:t>Date</a:t>
            </a:r>
            <a:br>
              <a:rPr lang="es-ES" dirty="0"/>
            </a:br>
            <a:r>
              <a:rPr lang="es-ES" dirty="0" err="1"/>
              <a:t>Name</a:t>
            </a:r>
            <a:r>
              <a:rPr lang="es-ES" dirty="0"/>
              <a:t> of </a:t>
            </a:r>
            <a:r>
              <a:rPr lang="es-ES" dirty="0" err="1"/>
              <a:t>moderator</a:t>
            </a:r>
            <a:br>
              <a:rPr lang="es-ES" dirty="0"/>
            </a:br>
            <a:r>
              <a:rPr lang="es-ES" dirty="0" err="1"/>
              <a:t>Organizational</a:t>
            </a:r>
            <a:r>
              <a:rPr lang="es-ES" dirty="0"/>
              <a:t> </a:t>
            </a:r>
            <a:r>
              <a:rPr lang="es-ES" dirty="0" err="1"/>
              <a:t>Unit</a:t>
            </a:r>
            <a:endParaRPr lang="de-CH" dirty="0"/>
          </a:p>
        </p:txBody>
      </p:sp>
      <p:sp>
        <p:nvSpPr>
          <p:cNvPr id="13" name="Freeform 12">
            <a:extLst>
              <a:ext uri="{FF2B5EF4-FFF2-40B4-BE49-F238E27FC236}">
                <a16:creationId xmlns:a16="http://schemas.microsoft.com/office/drawing/2014/main" id="{3BF14E28-A3D2-4046-94AC-AC5EDBC39896}"/>
              </a:ext>
            </a:extLst>
          </p:cNvPr>
          <p:cNvSpPr/>
          <p:nvPr userDrawn="1"/>
        </p:nvSpPr>
        <p:spPr bwMode="auto">
          <a:xfrm>
            <a:off x="4574333" y="3737716"/>
            <a:ext cx="699785" cy="352480"/>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1FB1E6"/>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15" name="Oval 14">
            <a:extLst>
              <a:ext uri="{FF2B5EF4-FFF2-40B4-BE49-F238E27FC236}">
                <a16:creationId xmlns:a16="http://schemas.microsoft.com/office/drawing/2014/main" id="{D7A5B4F9-D8E8-1142-B7A5-3C5B782BF95D}"/>
              </a:ext>
            </a:extLst>
          </p:cNvPr>
          <p:cNvSpPr>
            <a:spLocks noChangeAspect="1"/>
          </p:cNvSpPr>
          <p:nvPr userDrawn="1"/>
        </p:nvSpPr>
        <p:spPr bwMode="auto">
          <a:xfrm rot="5400000">
            <a:off x="4646867" y="3460358"/>
            <a:ext cx="277492" cy="277224"/>
          </a:xfrm>
          <a:prstGeom prst="ellipse">
            <a:avLst/>
          </a:prstGeom>
          <a:solidFill>
            <a:srgbClr val="1C67AF"/>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18" name="Freeform 17">
            <a:extLst>
              <a:ext uri="{FF2B5EF4-FFF2-40B4-BE49-F238E27FC236}">
                <a16:creationId xmlns:a16="http://schemas.microsoft.com/office/drawing/2014/main" id="{33927DAC-147C-0340-A2A6-43D13158D89F}"/>
              </a:ext>
            </a:extLst>
          </p:cNvPr>
          <p:cNvSpPr/>
          <p:nvPr userDrawn="1"/>
        </p:nvSpPr>
        <p:spPr bwMode="auto">
          <a:xfrm rot="8315714" flipH="1">
            <a:off x="4169673" y="4160949"/>
            <a:ext cx="1257953" cy="64748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3366E"/>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19" name="Oval 18">
            <a:extLst>
              <a:ext uri="{FF2B5EF4-FFF2-40B4-BE49-F238E27FC236}">
                <a16:creationId xmlns:a16="http://schemas.microsoft.com/office/drawing/2014/main" id="{FE21A11B-8128-FD45-9DFD-6ECE492D8C02}"/>
              </a:ext>
            </a:extLst>
          </p:cNvPr>
          <p:cNvSpPr>
            <a:spLocks noChangeAspect="1"/>
          </p:cNvSpPr>
          <p:nvPr userDrawn="1"/>
        </p:nvSpPr>
        <p:spPr bwMode="auto">
          <a:xfrm rot="5400000">
            <a:off x="8731704" y="1084507"/>
            <a:ext cx="412495" cy="412097"/>
          </a:xfrm>
          <a:prstGeom prst="ellipse">
            <a:avLst/>
          </a:prstGeom>
          <a:solidFill>
            <a:srgbClr val="91BFE3"/>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20" name="Freeform 19">
            <a:extLst>
              <a:ext uri="{FF2B5EF4-FFF2-40B4-BE49-F238E27FC236}">
                <a16:creationId xmlns:a16="http://schemas.microsoft.com/office/drawing/2014/main" id="{D8B0BD2F-4CAD-DD43-A6B5-13F39926F530}"/>
              </a:ext>
            </a:extLst>
          </p:cNvPr>
          <p:cNvSpPr/>
          <p:nvPr userDrawn="1"/>
        </p:nvSpPr>
        <p:spPr bwMode="auto">
          <a:xfrm rot="19037800">
            <a:off x="8147555" y="877001"/>
            <a:ext cx="835748" cy="42096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1C67AF"/>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21" name="Oval 20">
            <a:extLst>
              <a:ext uri="{FF2B5EF4-FFF2-40B4-BE49-F238E27FC236}">
                <a16:creationId xmlns:a16="http://schemas.microsoft.com/office/drawing/2014/main" id="{2182A073-48F3-5248-8A3B-5C5FA0113109}"/>
              </a:ext>
            </a:extLst>
          </p:cNvPr>
          <p:cNvSpPr>
            <a:spLocks noChangeAspect="1"/>
          </p:cNvSpPr>
          <p:nvPr userDrawn="1"/>
        </p:nvSpPr>
        <p:spPr bwMode="auto">
          <a:xfrm rot="5400000">
            <a:off x="5087204" y="4487343"/>
            <a:ext cx="656476" cy="655842"/>
          </a:xfrm>
          <a:prstGeom prst="ellipse">
            <a:avLst/>
          </a:prstGeom>
          <a:solidFill>
            <a:srgbClr val="91BFE3"/>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Tree>
    <p:extLst>
      <p:ext uri="{BB962C8B-B14F-4D97-AF65-F5344CB8AC3E}">
        <p14:creationId xmlns:p14="http://schemas.microsoft.com/office/powerpoint/2010/main" val="176948199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ver_Light Blue">
    <p:bg>
      <p:bgPr>
        <a:solidFill>
          <a:srgbClr val="DDE4E3"/>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BADF149-4970-FA49-9E2C-FA297EA714BC}"/>
              </a:ext>
            </a:extLst>
          </p:cNvPr>
          <p:cNvSpPr>
            <a:spLocks noGrp="1"/>
          </p:cNvSpPr>
          <p:nvPr>
            <p:ph type="pic" sz="quarter" idx="12" hasCustomPrompt="1"/>
          </p:nvPr>
        </p:nvSpPr>
        <p:spPr>
          <a:xfrm>
            <a:off x="5231179" y="1139760"/>
            <a:ext cx="4314263" cy="4314825"/>
          </a:xfrm>
          <a:prstGeom prst="ellipse">
            <a:avLst/>
          </a:prstGeom>
        </p:spPr>
        <p:txBody>
          <a:bodyPr/>
          <a:lstStyle>
            <a:lvl1pPr algn="ctr">
              <a:buNone/>
              <a:defRPr>
                <a:solidFill>
                  <a:srgbClr val="2167AE"/>
                </a:solidFill>
              </a:defRPr>
            </a:lvl1pPr>
          </a:lstStyle>
          <a:p>
            <a:r>
              <a:rPr lang="en-GB" dirty="0"/>
              <a:t>Add a picture here</a:t>
            </a:r>
          </a:p>
        </p:txBody>
      </p:sp>
      <p:pic>
        <p:nvPicPr>
          <p:cNvPr id="17" name="Picture 16">
            <a:extLst>
              <a:ext uri="{FF2B5EF4-FFF2-40B4-BE49-F238E27FC236}">
                <a16:creationId xmlns:a16="http://schemas.microsoft.com/office/drawing/2014/main" id="{662C25AB-DC38-A348-8382-D417E3A910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8262" y="119436"/>
            <a:ext cx="1330325" cy="512964"/>
          </a:xfrm>
          <a:prstGeom prst="rect">
            <a:avLst/>
          </a:prstGeom>
        </p:spPr>
      </p:pic>
      <p:sp>
        <p:nvSpPr>
          <p:cNvPr id="14" name="Rectangle 2">
            <a:extLst>
              <a:ext uri="{FF2B5EF4-FFF2-40B4-BE49-F238E27FC236}">
                <a16:creationId xmlns:a16="http://schemas.microsoft.com/office/drawing/2014/main" id="{931AACF1-B63F-7949-BCDC-E2A8941AFDDA}"/>
              </a:ext>
            </a:extLst>
          </p:cNvPr>
          <p:cNvSpPr>
            <a:spLocks noGrp="1" noChangeArrowheads="1"/>
          </p:cNvSpPr>
          <p:nvPr>
            <p:ph type="ctrTitle" hasCustomPrompt="1"/>
          </p:nvPr>
        </p:nvSpPr>
        <p:spPr>
          <a:xfrm>
            <a:off x="250824" y="828675"/>
            <a:ext cx="4886325" cy="1706564"/>
          </a:xfrm>
          <a:prstGeom prst="rect">
            <a:avLst/>
          </a:prstGeom>
          <a:ln/>
        </p:spPr>
        <p:txBody>
          <a:bodyPr anchor="b">
            <a:normAutofit/>
          </a:bodyPr>
          <a:lstStyle>
            <a:lvl1pPr algn="l">
              <a:defRPr sz="2800" b="0" i="0">
                <a:solidFill>
                  <a:srgbClr val="2167AE"/>
                </a:solidFill>
                <a:latin typeface="Arial" panose="020B0604020202020204" pitchFamily="34" charset="0"/>
                <a:cs typeface="Arial" panose="020B0604020202020204" pitchFamily="34" charset="0"/>
              </a:defRPr>
            </a:lvl1pPr>
          </a:lstStyle>
          <a:p>
            <a:r>
              <a:rPr lang="en-GB" dirty="0"/>
              <a:t>Headline</a:t>
            </a:r>
            <a:endParaRPr lang="de-CH" dirty="0"/>
          </a:p>
        </p:txBody>
      </p:sp>
      <p:sp>
        <p:nvSpPr>
          <p:cNvPr id="16" name="Text Placeholder 13">
            <a:extLst>
              <a:ext uri="{FF2B5EF4-FFF2-40B4-BE49-F238E27FC236}">
                <a16:creationId xmlns:a16="http://schemas.microsoft.com/office/drawing/2014/main" id="{9E60835F-6304-4047-8C94-638E3B07B416}"/>
              </a:ext>
            </a:extLst>
          </p:cNvPr>
          <p:cNvSpPr>
            <a:spLocks noGrp="1"/>
          </p:cNvSpPr>
          <p:nvPr>
            <p:ph type="body" sz="quarter" idx="11" hasCustomPrompt="1"/>
          </p:nvPr>
        </p:nvSpPr>
        <p:spPr>
          <a:xfrm>
            <a:off x="250825" y="2797400"/>
            <a:ext cx="3631216" cy="692142"/>
          </a:xfrm>
          <a:prstGeom prst="rect">
            <a:avLst/>
          </a:prstGeom>
        </p:spPr>
        <p:txBody>
          <a:bodyPr>
            <a:normAutofit/>
          </a:bodyPr>
          <a:lstStyle>
            <a:lvl1pPr>
              <a:buNone/>
              <a:defRPr sz="1600" b="0" i="0">
                <a:solidFill>
                  <a:srgbClr val="2167AE"/>
                </a:solidFill>
                <a:latin typeface="Arial" panose="020B0604020202020204" pitchFamily="34" charset="0"/>
                <a:cs typeface="Arial" panose="020B0604020202020204" pitchFamily="34" charset="0"/>
              </a:defRPr>
            </a:lvl1pPr>
          </a:lstStyle>
          <a:p>
            <a:pPr lvl="0"/>
            <a:r>
              <a:rPr lang="en-GB" dirty="0"/>
              <a:t>Subtitle</a:t>
            </a:r>
          </a:p>
        </p:txBody>
      </p:sp>
      <p:sp>
        <p:nvSpPr>
          <p:cNvPr id="10" name="Subtitle 2">
            <a:extLst>
              <a:ext uri="{FF2B5EF4-FFF2-40B4-BE49-F238E27FC236}">
                <a16:creationId xmlns:a16="http://schemas.microsoft.com/office/drawing/2014/main" id="{BAD99B2B-69BD-854D-95D7-4AAEF9501E97}"/>
              </a:ext>
            </a:extLst>
          </p:cNvPr>
          <p:cNvSpPr>
            <a:spLocks noGrp="1"/>
          </p:cNvSpPr>
          <p:nvPr>
            <p:ph type="subTitle" idx="1" hasCustomPrompt="1"/>
          </p:nvPr>
        </p:nvSpPr>
        <p:spPr>
          <a:xfrm>
            <a:off x="253496" y="3753591"/>
            <a:ext cx="3628555" cy="611706"/>
          </a:xfrm>
          <a:prstGeom prst="rect">
            <a:avLst/>
          </a:prstGeom>
        </p:spPr>
        <p:txBody>
          <a:bodyPr anchor="b">
            <a:normAutofit/>
          </a:bodyPr>
          <a:lstStyle>
            <a:lvl1pPr marL="0" indent="0" algn="l">
              <a:buNone/>
              <a:defRPr sz="1000" b="0" i="0">
                <a:solidFill>
                  <a:srgbClr val="2167AE"/>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s-ES" dirty="0"/>
              <a:t>Date</a:t>
            </a:r>
            <a:br>
              <a:rPr lang="es-ES" dirty="0"/>
            </a:br>
            <a:r>
              <a:rPr lang="es-ES" dirty="0" err="1"/>
              <a:t>Name</a:t>
            </a:r>
            <a:r>
              <a:rPr lang="es-ES" dirty="0"/>
              <a:t> of </a:t>
            </a:r>
            <a:r>
              <a:rPr lang="es-ES" dirty="0" err="1"/>
              <a:t>moderator</a:t>
            </a:r>
            <a:br>
              <a:rPr lang="es-ES" dirty="0"/>
            </a:br>
            <a:r>
              <a:rPr lang="es-ES" dirty="0" err="1"/>
              <a:t>Organizational</a:t>
            </a:r>
            <a:r>
              <a:rPr lang="es-ES" dirty="0"/>
              <a:t> </a:t>
            </a:r>
            <a:r>
              <a:rPr lang="es-ES" dirty="0" err="1"/>
              <a:t>Unit</a:t>
            </a:r>
            <a:endParaRPr lang="de-CH" dirty="0"/>
          </a:p>
        </p:txBody>
      </p:sp>
      <p:sp>
        <p:nvSpPr>
          <p:cNvPr id="13" name="Freeform 12">
            <a:extLst>
              <a:ext uri="{FF2B5EF4-FFF2-40B4-BE49-F238E27FC236}">
                <a16:creationId xmlns:a16="http://schemas.microsoft.com/office/drawing/2014/main" id="{3BF14E28-A3D2-4046-94AC-AC5EDBC39896}"/>
              </a:ext>
            </a:extLst>
          </p:cNvPr>
          <p:cNvSpPr/>
          <p:nvPr userDrawn="1"/>
        </p:nvSpPr>
        <p:spPr bwMode="auto">
          <a:xfrm>
            <a:off x="4574333" y="3737716"/>
            <a:ext cx="699785" cy="352480"/>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1FB1E6"/>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15" name="Oval 14">
            <a:extLst>
              <a:ext uri="{FF2B5EF4-FFF2-40B4-BE49-F238E27FC236}">
                <a16:creationId xmlns:a16="http://schemas.microsoft.com/office/drawing/2014/main" id="{D7A5B4F9-D8E8-1142-B7A5-3C5B782BF95D}"/>
              </a:ext>
            </a:extLst>
          </p:cNvPr>
          <p:cNvSpPr>
            <a:spLocks noChangeAspect="1"/>
          </p:cNvSpPr>
          <p:nvPr userDrawn="1"/>
        </p:nvSpPr>
        <p:spPr bwMode="auto">
          <a:xfrm rot="5400000">
            <a:off x="4646867" y="3460358"/>
            <a:ext cx="277492" cy="277224"/>
          </a:xfrm>
          <a:prstGeom prst="ellipse">
            <a:avLst/>
          </a:prstGeom>
          <a:solidFill>
            <a:srgbClr val="1C67AF"/>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18" name="Freeform 17">
            <a:extLst>
              <a:ext uri="{FF2B5EF4-FFF2-40B4-BE49-F238E27FC236}">
                <a16:creationId xmlns:a16="http://schemas.microsoft.com/office/drawing/2014/main" id="{33927DAC-147C-0340-A2A6-43D13158D89F}"/>
              </a:ext>
            </a:extLst>
          </p:cNvPr>
          <p:cNvSpPr/>
          <p:nvPr userDrawn="1"/>
        </p:nvSpPr>
        <p:spPr bwMode="auto">
          <a:xfrm rot="8315714" flipH="1">
            <a:off x="4169673" y="4160949"/>
            <a:ext cx="1257953" cy="647481"/>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23366E"/>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19" name="Oval 18">
            <a:extLst>
              <a:ext uri="{FF2B5EF4-FFF2-40B4-BE49-F238E27FC236}">
                <a16:creationId xmlns:a16="http://schemas.microsoft.com/office/drawing/2014/main" id="{FE21A11B-8128-FD45-9DFD-6ECE492D8C02}"/>
              </a:ext>
            </a:extLst>
          </p:cNvPr>
          <p:cNvSpPr>
            <a:spLocks noChangeAspect="1"/>
          </p:cNvSpPr>
          <p:nvPr userDrawn="1"/>
        </p:nvSpPr>
        <p:spPr bwMode="auto">
          <a:xfrm rot="5400000">
            <a:off x="8731704" y="1084507"/>
            <a:ext cx="412495" cy="412097"/>
          </a:xfrm>
          <a:prstGeom prst="ellipse">
            <a:avLst/>
          </a:prstGeom>
          <a:solidFill>
            <a:srgbClr val="91BFE3"/>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20" name="Freeform 19">
            <a:extLst>
              <a:ext uri="{FF2B5EF4-FFF2-40B4-BE49-F238E27FC236}">
                <a16:creationId xmlns:a16="http://schemas.microsoft.com/office/drawing/2014/main" id="{D8B0BD2F-4CAD-DD43-A6B5-13F39926F530}"/>
              </a:ext>
            </a:extLst>
          </p:cNvPr>
          <p:cNvSpPr/>
          <p:nvPr userDrawn="1"/>
        </p:nvSpPr>
        <p:spPr bwMode="auto">
          <a:xfrm rot="19037800">
            <a:off x="8147555" y="877001"/>
            <a:ext cx="835748" cy="420963"/>
          </a:xfrm>
          <a:custGeom>
            <a:avLst/>
            <a:gdLst>
              <a:gd name="connsiteX0" fmla="*/ 531 w 1423686"/>
              <a:gd name="connsiteY0" fmla="*/ 0 h 717107"/>
              <a:gd name="connsiteX1" fmla="*/ 1423155 w 1423686"/>
              <a:gd name="connsiteY1" fmla="*/ 0 h 717107"/>
              <a:gd name="connsiteX2" fmla="*/ 1423686 w 1423686"/>
              <a:gd name="connsiteY2" fmla="*/ 5264 h 717107"/>
              <a:gd name="connsiteX3" fmla="*/ 711843 w 1423686"/>
              <a:gd name="connsiteY3" fmla="*/ 717107 h 717107"/>
              <a:gd name="connsiteX4" fmla="*/ 0 w 1423686"/>
              <a:gd name="connsiteY4" fmla="*/ 5264 h 717107"/>
              <a:gd name="connsiteX5" fmla="*/ 531 w 1423686"/>
              <a:gd name="connsiteY5" fmla="*/ 0 h 71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686" h="717107">
                <a:moveTo>
                  <a:pt x="531" y="0"/>
                </a:moveTo>
                <a:lnTo>
                  <a:pt x="1423155" y="0"/>
                </a:lnTo>
                <a:lnTo>
                  <a:pt x="1423686" y="5264"/>
                </a:lnTo>
                <a:cubicBezTo>
                  <a:pt x="1423686" y="398404"/>
                  <a:pt x="1104983" y="717107"/>
                  <a:pt x="711843" y="717107"/>
                </a:cubicBezTo>
                <a:cubicBezTo>
                  <a:pt x="318703" y="717107"/>
                  <a:pt x="0" y="398404"/>
                  <a:pt x="0" y="5264"/>
                </a:cubicBezTo>
                <a:lnTo>
                  <a:pt x="531" y="0"/>
                </a:lnTo>
                <a:close/>
              </a:path>
            </a:pathLst>
          </a:custGeom>
          <a:solidFill>
            <a:srgbClr val="1C67AF"/>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
        <p:nvSpPr>
          <p:cNvPr id="21" name="Oval 20">
            <a:extLst>
              <a:ext uri="{FF2B5EF4-FFF2-40B4-BE49-F238E27FC236}">
                <a16:creationId xmlns:a16="http://schemas.microsoft.com/office/drawing/2014/main" id="{2182A073-48F3-5248-8A3B-5C5FA0113109}"/>
              </a:ext>
            </a:extLst>
          </p:cNvPr>
          <p:cNvSpPr>
            <a:spLocks noChangeAspect="1"/>
          </p:cNvSpPr>
          <p:nvPr userDrawn="1"/>
        </p:nvSpPr>
        <p:spPr bwMode="auto">
          <a:xfrm rot="5400000">
            <a:off x="5087204" y="4487343"/>
            <a:ext cx="656476" cy="655842"/>
          </a:xfrm>
          <a:prstGeom prst="ellipse">
            <a:avLst/>
          </a:prstGeom>
          <a:solidFill>
            <a:srgbClr val="91BFE3"/>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ES" sz="2000" b="0" i="0" u="none" strike="noStrike" cap="none" normalizeH="0" baseline="0">
              <a:ln>
                <a:noFill/>
              </a:ln>
              <a:effectLst/>
              <a:latin typeface="Zurich Sans Light" panose="02000000000000000000" pitchFamily="2" charset="0"/>
            </a:endParaRPr>
          </a:p>
        </p:txBody>
      </p:sp>
    </p:spTree>
    <p:extLst>
      <p:ext uri="{BB962C8B-B14F-4D97-AF65-F5344CB8AC3E}">
        <p14:creationId xmlns:p14="http://schemas.microsoft.com/office/powerpoint/2010/main" val="409580285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E5769-963A-1E4C-9183-8C898DF4FC4E}"/>
              </a:ext>
            </a:extLst>
          </p:cNvPr>
          <p:cNvSpPr>
            <a:spLocks noGrp="1"/>
          </p:cNvSpPr>
          <p:nvPr>
            <p:ph type="title" hasCustomPrompt="1"/>
          </p:nvPr>
        </p:nvSpPr>
        <p:spPr>
          <a:xfrm>
            <a:off x="250825" y="244475"/>
            <a:ext cx="7391399" cy="285750"/>
          </a:xfrm>
          <a:prstGeom prst="rect">
            <a:avLst/>
          </a:prstGeom>
        </p:spPr>
        <p:txBody>
          <a:bodyPr lIns="0" anchor="t"/>
          <a:lstStyle>
            <a:lvl1pPr>
              <a:defRPr b="0" i="0">
                <a:solidFill>
                  <a:srgbClr val="2167AE"/>
                </a:solidFill>
                <a:latin typeface="Arial" panose="020B0604020202020204" pitchFamily="34" charset="0"/>
                <a:cs typeface="Arial" panose="020B0604020202020204" pitchFamily="34" charset="0"/>
              </a:defRPr>
            </a:lvl1pPr>
          </a:lstStyle>
          <a:p>
            <a:r>
              <a:rPr lang="en-GB" noProof="0" dirty="0"/>
              <a:t>Agenda or content page</a:t>
            </a:r>
          </a:p>
        </p:txBody>
      </p:sp>
      <p:sp>
        <p:nvSpPr>
          <p:cNvPr id="6" name="Text Placeholder 16">
            <a:extLst>
              <a:ext uri="{FF2B5EF4-FFF2-40B4-BE49-F238E27FC236}">
                <a16:creationId xmlns:a16="http://schemas.microsoft.com/office/drawing/2014/main" id="{2E48DA8B-B36B-F147-BA19-ADE851F826B3}"/>
              </a:ext>
            </a:extLst>
          </p:cNvPr>
          <p:cNvSpPr>
            <a:spLocks noGrp="1"/>
          </p:cNvSpPr>
          <p:nvPr>
            <p:ph type="body" sz="quarter" idx="15" hasCustomPrompt="1"/>
          </p:nvPr>
        </p:nvSpPr>
        <p:spPr>
          <a:xfrm>
            <a:off x="250823" y="828675"/>
            <a:ext cx="8642351" cy="3948080"/>
          </a:xfrm>
          <a:prstGeom prst="rect">
            <a:avLst/>
          </a:prstGeom>
        </p:spPr>
        <p:txBody>
          <a:bodyPr lIns="0" rIns="0" anchor="t"/>
          <a:lstStyle>
            <a:lvl1pPr marL="266700" marR="0" indent="-266700" algn="l" defTabSz="685709" rtl="0" eaLnBrk="1" fontAlgn="base" latinLnBrk="0" hangingPunct="1">
              <a:lnSpc>
                <a:spcPct val="100000"/>
              </a:lnSpc>
              <a:spcBef>
                <a:spcPts val="0"/>
              </a:spcBef>
              <a:spcAft>
                <a:spcPts val="225"/>
              </a:spcAft>
              <a:buClr>
                <a:srgbClr val="1C67AF"/>
              </a:buClr>
              <a:buSzPct val="100000"/>
              <a:buFont typeface="+mj-lt"/>
              <a:buAutoNum type="arabicPeriod"/>
              <a:tabLst/>
              <a:defRPr sz="1400" b="0" i="0">
                <a:solidFill>
                  <a:srgbClr val="2167AE"/>
                </a:solidFill>
                <a:latin typeface="Arial" panose="020B0604020202020204" pitchFamily="34" charset="0"/>
                <a:cs typeface="Arial" panose="020B0604020202020204" pitchFamily="34" charset="0"/>
              </a:defRPr>
            </a:lvl1pPr>
          </a:lstStyle>
          <a:p>
            <a:pPr lvl="0"/>
            <a:r>
              <a:rPr lang="en-GB" noProof="0" dirty="0"/>
              <a:t>Add title</a:t>
            </a:r>
          </a:p>
          <a:p>
            <a:pPr lvl="0"/>
            <a:r>
              <a:rPr lang="en-GB" noProof="0" dirty="0"/>
              <a:t>Add title</a:t>
            </a:r>
          </a:p>
          <a:p>
            <a:pPr lvl="0"/>
            <a:r>
              <a:rPr lang="en-GB" noProof="0" dirty="0"/>
              <a:t>Add title</a:t>
            </a:r>
          </a:p>
          <a:p>
            <a:pPr lvl="0"/>
            <a:r>
              <a:rPr lang="en-GB" noProof="0" dirty="0"/>
              <a:t>Add title</a:t>
            </a:r>
          </a:p>
          <a:p>
            <a:pPr lvl="0"/>
            <a:r>
              <a:rPr lang="en-GB" noProof="0" dirty="0"/>
              <a:t>Add title</a:t>
            </a:r>
          </a:p>
        </p:txBody>
      </p:sp>
      <p:sp>
        <p:nvSpPr>
          <p:cNvPr id="5" name="Footer Placeholder 4">
            <a:extLst>
              <a:ext uri="{FF2B5EF4-FFF2-40B4-BE49-F238E27FC236}">
                <a16:creationId xmlns:a16="http://schemas.microsoft.com/office/drawing/2014/main" id="{7576DE17-B41F-F94E-8417-AABA2A9152F7}"/>
              </a:ext>
            </a:extLst>
          </p:cNvPr>
          <p:cNvSpPr>
            <a:spLocks noGrp="1"/>
          </p:cNvSpPr>
          <p:nvPr>
            <p:ph type="ftr" sz="quarter" idx="16"/>
          </p:nvPr>
        </p:nvSpPr>
        <p:spPr/>
        <p:txBody>
          <a:bodyPr/>
          <a:lstStyle>
            <a:lvl1pPr algn="r">
              <a:defRPr>
                <a:solidFill>
                  <a:srgbClr val="2167AE"/>
                </a:solidFill>
              </a:defRPr>
            </a:lvl1pPr>
          </a:lstStyle>
          <a:p>
            <a:endParaRPr lang="en-GB" dirty="0"/>
          </a:p>
        </p:txBody>
      </p:sp>
      <p:sp>
        <p:nvSpPr>
          <p:cNvPr id="7" name="Slide Number Placeholder 6">
            <a:extLst>
              <a:ext uri="{FF2B5EF4-FFF2-40B4-BE49-F238E27FC236}">
                <a16:creationId xmlns:a16="http://schemas.microsoft.com/office/drawing/2014/main" id="{DBFE40F3-EF7C-CF47-84EA-47BCB129D9F5}"/>
              </a:ext>
            </a:extLst>
          </p:cNvPr>
          <p:cNvSpPr>
            <a:spLocks noGrp="1"/>
          </p:cNvSpPr>
          <p:nvPr>
            <p:ph type="sldNum" sz="quarter" idx="17"/>
          </p:nvPr>
        </p:nvSpPr>
        <p:spPr>
          <a:xfrm>
            <a:off x="7766050" y="4930548"/>
            <a:ext cx="1127125" cy="145134"/>
          </a:xfrm>
        </p:spPr>
        <p:txBody>
          <a:bodyPr/>
          <a:lstStyle>
            <a:lvl1pPr>
              <a:defRPr>
                <a:solidFill>
                  <a:srgbClr val="2167AE"/>
                </a:solidFill>
              </a:defRPr>
            </a:lvl1pPr>
          </a:lstStyle>
          <a:p>
            <a:fld id="{D691331D-A62F-41F8-BAEC-0A7727B7C525}" type="slidenum">
              <a:rPr lang="en-GB" smtClean="0"/>
              <a:pPr/>
              <a:t>‹#›</a:t>
            </a:fld>
            <a:endParaRPr lang="en-GB" dirty="0"/>
          </a:p>
        </p:txBody>
      </p:sp>
      <p:pic>
        <p:nvPicPr>
          <p:cNvPr id="8" name="Picture 7">
            <a:extLst>
              <a:ext uri="{FF2B5EF4-FFF2-40B4-BE49-F238E27FC236}">
                <a16:creationId xmlns:a16="http://schemas.microsoft.com/office/drawing/2014/main" id="{2B26F0D8-5E9E-2A4B-88B7-3CE5BEAD04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42225" y="119436"/>
            <a:ext cx="1330325" cy="512964"/>
          </a:xfrm>
          <a:prstGeom prst="rect">
            <a:avLst/>
          </a:prstGeom>
        </p:spPr>
      </p:pic>
    </p:spTree>
    <p:extLst>
      <p:ext uri="{BB962C8B-B14F-4D97-AF65-F5344CB8AC3E}">
        <p14:creationId xmlns:p14="http://schemas.microsoft.com/office/powerpoint/2010/main" val="15746508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image_table etc">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550AD41-FA64-4C59-8A37-22FCE5572A7A}"/>
              </a:ext>
            </a:extLst>
          </p:cNvPr>
          <p:cNvGraphicFramePr>
            <a:graphicFrameLocks noChangeAspect="1"/>
          </p:cNvGraphicFramePr>
          <p:nvPr userDrawn="1">
            <p:custDataLst>
              <p:tags r:id="rId1"/>
            </p:custDataLst>
            <p:extLst>
              <p:ext uri="{D42A27DB-BD31-4B8C-83A1-F6EECF244321}">
                <p14:modId xmlns:p14="http://schemas.microsoft.com/office/powerpoint/2010/main" val="3770497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4550AD41-FA64-4C59-8A37-22FCE5572A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4E5769-963A-1E4C-9183-8C898DF4FC4E}"/>
              </a:ext>
            </a:extLst>
          </p:cNvPr>
          <p:cNvSpPr>
            <a:spLocks noGrp="1"/>
          </p:cNvSpPr>
          <p:nvPr>
            <p:ph type="title" hasCustomPrompt="1"/>
          </p:nvPr>
        </p:nvSpPr>
        <p:spPr>
          <a:xfrm>
            <a:off x="250825" y="244475"/>
            <a:ext cx="7391399" cy="285750"/>
          </a:xfrm>
          <a:prstGeom prst="rect">
            <a:avLst/>
          </a:prstGeom>
        </p:spPr>
        <p:txBody>
          <a:bodyPr vert="horz" lIns="0" anchor="t"/>
          <a:lstStyle>
            <a:lvl1pPr>
              <a:defRPr b="0" i="0">
                <a:solidFill>
                  <a:srgbClr val="2167AE"/>
                </a:solidFill>
                <a:latin typeface="Arial" panose="020B0604020202020204" pitchFamily="34" charset="0"/>
                <a:cs typeface="Arial" panose="020B0604020202020204" pitchFamily="34" charset="0"/>
              </a:defRPr>
            </a:lvl1pPr>
          </a:lstStyle>
          <a:p>
            <a:r>
              <a:rPr lang="en-GB" noProof="0" dirty="0"/>
              <a:t>Add title here</a:t>
            </a:r>
          </a:p>
        </p:txBody>
      </p:sp>
      <p:sp>
        <p:nvSpPr>
          <p:cNvPr id="5" name="Footer Placeholder 4">
            <a:extLst>
              <a:ext uri="{FF2B5EF4-FFF2-40B4-BE49-F238E27FC236}">
                <a16:creationId xmlns:a16="http://schemas.microsoft.com/office/drawing/2014/main" id="{7576DE17-B41F-F94E-8417-AABA2A9152F7}"/>
              </a:ext>
            </a:extLst>
          </p:cNvPr>
          <p:cNvSpPr>
            <a:spLocks noGrp="1"/>
          </p:cNvSpPr>
          <p:nvPr>
            <p:ph type="ftr" sz="quarter" idx="16"/>
          </p:nvPr>
        </p:nvSpPr>
        <p:spPr/>
        <p:txBody>
          <a:bodyPr/>
          <a:lstStyle>
            <a:lvl1pPr algn="r">
              <a:defRPr>
                <a:solidFill>
                  <a:srgbClr val="2167AE"/>
                </a:solidFill>
              </a:defRPr>
            </a:lvl1pPr>
          </a:lstStyle>
          <a:p>
            <a:endParaRPr lang="en-GB" dirty="0"/>
          </a:p>
        </p:txBody>
      </p:sp>
      <p:sp>
        <p:nvSpPr>
          <p:cNvPr id="7" name="Slide Number Placeholder 6">
            <a:extLst>
              <a:ext uri="{FF2B5EF4-FFF2-40B4-BE49-F238E27FC236}">
                <a16:creationId xmlns:a16="http://schemas.microsoft.com/office/drawing/2014/main" id="{DBFE40F3-EF7C-CF47-84EA-47BCB129D9F5}"/>
              </a:ext>
            </a:extLst>
          </p:cNvPr>
          <p:cNvSpPr>
            <a:spLocks noGrp="1"/>
          </p:cNvSpPr>
          <p:nvPr>
            <p:ph type="sldNum" sz="quarter" idx="17"/>
          </p:nvPr>
        </p:nvSpPr>
        <p:spPr>
          <a:xfrm>
            <a:off x="7766050" y="4930548"/>
            <a:ext cx="1127125" cy="145134"/>
          </a:xfrm>
        </p:spPr>
        <p:txBody>
          <a:bodyPr/>
          <a:lstStyle>
            <a:lvl1pPr>
              <a:defRPr>
                <a:solidFill>
                  <a:srgbClr val="2167AE"/>
                </a:solidFill>
              </a:defRPr>
            </a:lvl1pPr>
          </a:lstStyle>
          <a:p>
            <a:fld id="{D691331D-A62F-41F8-BAEC-0A7727B7C525}" type="slidenum">
              <a:rPr lang="en-GB" smtClean="0"/>
              <a:pPr/>
              <a:t>‹#›</a:t>
            </a:fld>
            <a:endParaRPr lang="en-GB" dirty="0"/>
          </a:p>
        </p:txBody>
      </p:sp>
      <p:pic>
        <p:nvPicPr>
          <p:cNvPr id="8" name="Picture 7">
            <a:extLst>
              <a:ext uri="{FF2B5EF4-FFF2-40B4-BE49-F238E27FC236}">
                <a16:creationId xmlns:a16="http://schemas.microsoft.com/office/drawing/2014/main" id="{2B26F0D8-5E9E-2A4B-88B7-3CE5BEAD04F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42225" y="119436"/>
            <a:ext cx="1330325" cy="512964"/>
          </a:xfrm>
          <a:prstGeom prst="rect">
            <a:avLst/>
          </a:prstGeom>
        </p:spPr>
      </p:pic>
      <p:sp>
        <p:nvSpPr>
          <p:cNvPr id="4" name="Content Placeholder 3">
            <a:extLst>
              <a:ext uri="{FF2B5EF4-FFF2-40B4-BE49-F238E27FC236}">
                <a16:creationId xmlns:a16="http://schemas.microsoft.com/office/drawing/2014/main" id="{2AF3AD51-F82E-4C8D-A78E-35C96A3605C4}"/>
              </a:ext>
            </a:extLst>
          </p:cNvPr>
          <p:cNvSpPr>
            <a:spLocks noGrp="1"/>
          </p:cNvSpPr>
          <p:nvPr>
            <p:ph sz="quarter" idx="18" hasCustomPrompt="1"/>
          </p:nvPr>
        </p:nvSpPr>
        <p:spPr>
          <a:xfrm>
            <a:off x="252000" y="828000"/>
            <a:ext cx="8643600" cy="3949200"/>
          </a:xfrm>
        </p:spPr>
        <p:txBody>
          <a:bodyPr/>
          <a:lstStyle>
            <a:lvl1pPr>
              <a:defRPr/>
            </a:lvl1pPr>
            <a:lvl2pPr marL="339283" indent="-135713">
              <a:buSzPct val="120000"/>
              <a:buFont typeface="Arial" panose="020B0604020202020204" pitchFamily="34" charset="0"/>
              <a:buChar char="•"/>
              <a:defRPr/>
            </a:lvl2pPr>
            <a:lvl3pPr marL="534520" indent="-127380">
              <a:buFont typeface="Arial" panose="020B0604020202020204" pitchFamily="34" charset="0"/>
              <a:buChar char="−"/>
              <a:defRPr/>
            </a:lvl3pPr>
            <a:lvl4pPr marL="739280" indent="-133332">
              <a:buFont typeface="Arial" panose="020B0604020202020204" pitchFamily="34" charset="0"/>
              <a:buChar char="−"/>
              <a:defRPr/>
            </a:lvl4pPr>
            <a:lvl5pPr marL="934516" indent="-128570">
              <a:buFont typeface="Arial" panose="020B0604020202020204" pitchFamily="34" charset="0"/>
              <a:buChar char="−"/>
              <a:defRPr/>
            </a:lvl5pPr>
          </a:lstStyle>
          <a:p>
            <a:pPr lvl="0"/>
            <a:r>
              <a:rPr lang="en-US" dirty="0"/>
              <a:t>Add text, table, chart, image etc.</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2">
            <a:extLst>
              <a:ext uri="{FF2B5EF4-FFF2-40B4-BE49-F238E27FC236}">
                <a16:creationId xmlns:a16="http://schemas.microsoft.com/office/drawing/2014/main" id="{A63119A1-1378-4821-8B56-889B7B53F90E}"/>
              </a:ext>
            </a:extLst>
          </p:cNvPr>
          <p:cNvSpPr>
            <a:spLocks noGrp="1"/>
          </p:cNvSpPr>
          <p:nvPr>
            <p:ph type="subTitle" idx="13" hasCustomPrompt="1"/>
          </p:nvPr>
        </p:nvSpPr>
        <p:spPr>
          <a:xfrm>
            <a:off x="250825" y="538553"/>
            <a:ext cx="7391400" cy="191697"/>
          </a:xfrm>
          <a:prstGeom prst="rect">
            <a:avLst/>
          </a:prstGeom>
        </p:spPr>
        <p:txBody>
          <a:bodyPr anchor="t">
            <a:noAutofit/>
          </a:bodyPr>
          <a:lstStyle>
            <a:lvl1pPr marL="0" indent="0" algn="l">
              <a:buNone/>
              <a:defRPr sz="1200" b="0" i="0">
                <a:solidFill>
                  <a:srgbClr val="2167AE"/>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GB" noProof="0" dirty="0"/>
              <a:t>Subtitle goes here</a:t>
            </a:r>
          </a:p>
        </p:txBody>
      </p:sp>
    </p:spTree>
    <p:extLst>
      <p:ext uri="{BB962C8B-B14F-4D97-AF65-F5344CB8AC3E}">
        <p14:creationId xmlns:p14="http://schemas.microsoft.com/office/powerpoint/2010/main" val="3204615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ontent_image_table etc">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550AD41-FA64-4C59-8A37-22FCE5572A7A}"/>
              </a:ext>
            </a:extLst>
          </p:cNvPr>
          <p:cNvGraphicFramePr>
            <a:graphicFrameLocks noChangeAspect="1"/>
          </p:cNvGraphicFramePr>
          <p:nvPr userDrawn="1">
            <p:custDataLst>
              <p:tags r:id="rId1"/>
            </p:custDataLst>
            <p:extLst>
              <p:ext uri="{D42A27DB-BD31-4B8C-83A1-F6EECF244321}">
                <p14:modId xmlns:p14="http://schemas.microsoft.com/office/powerpoint/2010/main" val="3965772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4550AD41-FA64-4C59-8A37-22FCE5572A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4E5769-963A-1E4C-9183-8C898DF4FC4E}"/>
              </a:ext>
            </a:extLst>
          </p:cNvPr>
          <p:cNvSpPr>
            <a:spLocks noGrp="1"/>
          </p:cNvSpPr>
          <p:nvPr>
            <p:ph type="title" hasCustomPrompt="1"/>
          </p:nvPr>
        </p:nvSpPr>
        <p:spPr>
          <a:xfrm>
            <a:off x="250825" y="244475"/>
            <a:ext cx="7391399" cy="285750"/>
          </a:xfrm>
          <a:prstGeom prst="rect">
            <a:avLst/>
          </a:prstGeom>
        </p:spPr>
        <p:txBody>
          <a:bodyPr vert="horz" lIns="0" anchor="t"/>
          <a:lstStyle>
            <a:lvl1pPr>
              <a:defRPr b="0" i="0">
                <a:solidFill>
                  <a:srgbClr val="2167AE"/>
                </a:solidFill>
                <a:latin typeface="Arial" panose="020B0604020202020204" pitchFamily="34" charset="0"/>
                <a:cs typeface="Arial" panose="020B0604020202020204" pitchFamily="34" charset="0"/>
              </a:defRPr>
            </a:lvl1pPr>
          </a:lstStyle>
          <a:p>
            <a:r>
              <a:rPr lang="en-GB" noProof="0" dirty="0"/>
              <a:t>Add title here</a:t>
            </a:r>
          </a:p>
        </p:txBody>
      </p:sp>
      <p:sp>
        <p:nvSpPr>
          <p:cNvPr id="5" name="Footer Placeholder 4">
            <a:extLst>
              <a:ext uri="{FF2B5EF4-FFF2-40B4-BE49-F238E27FC236}">
                <a16:creationId xmlns:a16="http://schemas.microsoft.com/office/drawing/2014/main" id="{7576DE17-B41F-F94E-8417-AABA2A9152F7}"/>
              </a:ext>
            </a:extLst>
          </p:cNvPr>
          <p:cNvSpPr>
            <a:spLocks noGrp="1"/>
          </p:cNvSpPr>
          <p:nvPr>
            <p:ph type="ftr" sz="quarter" idx="16"/>
          </p:nvPr>
        </p:nvSpPr>
        <p:spPr/>
        <p:txBody>
          <a:bodyPr/>
          <a:lstStyle>
            <a:lvl1pPr algn="r">
              <a:defRPr>
                <a:solidFill>
                  <a:srgbClr val="2167AE"/>
                </a:solidFill>
              </a:defRPr>
            </a:lvl1pPr>
          </a:lstStyle>
          <a:p>
            <a:endParaRPr lang="en-GB" dirty="0"/>
          </a:p>
        </p:txBody>
      </p:sp>
      <p:sp>
        <p:nvSpPr>
          <p:cNvPr id="7" name="Slide Number Placeholder 6">
            <a:extLst>
              <a:ext uri="{FF2B5EF4-FFF2-40B4-BE49-F238E27FC236}">
                <a16:creationId xmlns:a16="http://schemas.microsoft.com/office/drawing/2014/main" id="{DBFE40F3-EF7C-CF47-84EA-47BCB129D9F5}"/>
              </a:ext>
            </a:extLst>
          </p:cNvPr>
          <p:cNvSpPr>
            <a:spLocks noGrp="1"/>
          </p:cNvSpPr>
          <p:nvPr>
            <p:ph type="sldNum" sz="quarter" idx="17"/>
          </p:nvPr>
        </p:nvSpPr>
        <p:spPr>
          <a:xfrm>
            <a:off x="7766050" y="4930548"/>
            <a:ext cx="1127125" cy="145134"/>
          </a:xfrm>
        </p:spPr>
        <p:txBody>
          <a:bodyPr/>
          <a:lstStyle>
            <a:lvl1pPr>
              <a:defRPr>
                <a:solidFill>
                  <a:srgbClr val="2167AE"/>
                </a:solidFill>
              </a:defRPr>
            </a:lvl1pPr>
          </a:lstStyle>
          <a:p>
            <a:fld id="{D691331D-A62F-41F8-BAEC-0A7727B7C525}" type="slidenum">
              <a:rPr lang="en-GB" smtClean="0"/>
              <a:pPr/>
              <a:t>‹#›</a:t>
            </a:fld>
            <a:endParaRPr lang="en-GB" dirty="0"/>
          </a:p>
        </p:txBody>
      </p:sp>
      <p:pic>
        <p:nvPicPr>
          <p:cNvPr id="8" name="Picture 7">
            <a:extLst>
              <a:ext uri="{FF2B5EF4-FFF2-40B4-BE49-F238E27FC236}">
                <a16:creationId xmlns:a16="http://schemas.microsoft.com/office/drawing/2014/main" id="{2B26F0D8-5E9E-2A4B-88B7-3CE5BEAD04F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42225" y="119436"/>
            <a:ext cx="1330325" cy="512964"/>
          </a:xfrm>
          <a:prstGeom prst="rect">
            <a:avLst/>
          </a:prstGeom>
        </p:spPr>
      </p:pic>
      <p:sp>
        <p:nvSpPr>
          <p:cNvPr id="4" name="Content Placeholder 3">
            <a:extLst>
              <a:ext uri="{FF2B5EF4-FFF2-40B4-BE49-F238E27FC236}">
                <a16:creationId xmlns:a16="http://schemas.microsoft.com/office/drawing/2014/main" id="{2AF3AD51-F82E-4C8D-A78E-35C96A3605C4}"/>
              </a:ext>
            </a:extLst>
          </p:cNvPr>
          <p:cNvSpPr>
            <a:spLocks noGrp="1"/>
          </p:cNvSpPr>
          <p:nvPr>
            <p:ph sz="quarter" idx="18" hasCustomPrompt="1"/>
          </p:nvPr>
        </p:nvSpPr>
        <p:spPr>
          <a:xfrm>
            <a:off x="252000" y="828000"/>
            <a:ext cx="8643600" cy="3949200"/>
          </a:xfrm>
        </p:spPr>
        <p:txBody>
          <a:bodyPr/>
          <a:lstStyle>
            <a:lvl1pPr>
              <a:defRPr/>
            </a:lvl1pPr>
            <a:lvl2pPr marL="339283" indent="-135713">
              <a:buSzPct val="120000"/>
              <a:buFont typeface="Arial" panose="020B0604020202020204" pitchFamily="34" charset="0"/>
              <a:buChar char="•"/>
              <a:defRPr/>
            </a:lvl2pPr>
            <a:lvl3pPr marL="534520" indent="-127380">
              <a:buFont typeface="Arial" panose="020B0604020202020204" pitchFamily="34" charset="0"/>
              <a:buChar char="−"/>
              <a:defRPr/>
            </a:lvl3pPr>
            <a:lvl4pPr marL="739280" indent="-133332">
              <a:buFont typeface="Arial" panose="020B0604020202020204" pitchFamily="34" charset="0"/>
              <a:buChar char="−"/>
              <a:defRPr/>
            </a:lvl4pPr>
            <a:lvl5pPr marL="934516" indent="-128570">
              <a:buFont typeface="Arial" panose="020B0604020202020204" pitchFamily="34" charset="0"/>
              <a:buChar char="−"/>
              <a:defRPr/>
            </a:lvl5pPr>
          </a:lstStyle>
          <a:p>
            <a:pPr lvl="0"/>
            <a:r>
              <a:rPr lang="en-US" dirty="0"/>
              <a:t>Add text, table, chart, image etc.</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2">
            <a:extLst>
              <a:ext uri="{FF2B5EF4-FFF2-40B4-BE49-F238E27FC236}">
                <a16:creationId xmlns:a16="http://schemas.microsoft.com/office/drawing/2014/main" id="{A63119A1-1378-4821-8B56-889B7B53F90E}"/>
              </a:ext>
            </a:extLst>
          </p:cNvPr>
          <p:cNvSpPr>
            <a:spLocks noGrp="1"/>
          </p:cNvSpPr>
          <p:nvPr>
            <p:ph type="subTitle" idx="13" hasCustomPrompt="1"/>
          </p:nvPr>
        </p:nvSpPr>
        <p:spPr>
          <a:xfrm>
            <a:off x="250825" y="538553"/>
            <a:ext cx="7391400" cy="191697"/>
          </a:xfrm>
          <a:prstGeom prst="rect">
            <a:avLst/>
          </a:prstGeom>
        </p:spPr>
        <p:txBody>
          <a:bodyPr anchor="t">
            <a:noAutofit/>
          </a:bodyPr>
          <a:lstStyle>
            <a:lvl1pPr marL="0" indent="0" algn="l">
              <a:buNone/>
              <a:defRPr sz="1200" b="0" i="0">
                <a:solidFill>
                  <a:srgbClr val="2167AE"/>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GB" noProof="0" dirty="0"/>
              <a:t>Subtitle goes here</a:t>
            </a:r>
          </a:p>
        </p:txBody>
      </p:sp>
    </p:spTree>
    <p:extLst>
      <p:ext uri="{BB962C8B-B14F-4D97-AF65-F5344CB8AC3E}">
        <p14:creationId xmlns:p14="http://schemas.microsoft.com/office/powerpoint/2010/main" val="111218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ido">
    <p:bg>
      <p:bgPr>
        <a:solidFill>
          <a:srgbClr val="FFFFFF"/>
        </a:solidFill>
        <a:effectLst/>
      </p:bgPr>
    </p:bg>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7DEBEC2F-FA09-B844-A248-B671FE9597C9}"/>
              </a:ext>
            </a:extLst>
          </p:cNvPr>
          <p:cNvSpPr>
            <a:spLocks noGrp="1"/>
          </p:cNvSpPr>
          <p:nvPr>
            <p:ph type="body" sz="quarter" idx="19" hasCustomPrompt="1"/>
          </p:nvPr>
        </p:nvSpPr>
        <p:spPr>
          <a:xfrm>
            <a:off x="6515099" y="244475"/>
            <a:ext cx="1127125" cy="285750"/>
          </a:xfrm>
          <a:prstGeom prst="rect">
            <a:avLst/>
          </a:prstGeom>
        </p:spPr>
        <p:txBody>
          <a:bodyPr>
            <a:normAutofit/>
          </a:bodyPr>
          <a:lstStyle>
            <a:lvl1pPr algn="r">
              <a:buNone/>
              <a:defRPr sz="750" b="0" i="0">
                <a:solidFill>
                  <a:srgbClr val="2167AE"/>
                </a:solidFill>
                <a:latin typeface="Arial" panose="020B0604020202020204" pitchFamily="34" charset="0"/>
                <a:cs typeface="Arial" panose="020B0604020202020204" pitchFamily="34" charset="0"/>
              </a:defRPr>
            </a:lvl1pPr>
          </a:lstStyle>
          <a:p>
            <a:pPr lvl="0"/>
            <a:r>
              <a:rPr lang="en-GB" noProof="0" dirty="0"/>
              <a:t>Section name</a:t>
            </a:r>
          </a:p>
        </p:txBody>
      </p:sp>
      <p:sp>
        <p:nvSpPr>
          <p:cNvPr id="15" name="Subtitle 2">
            <a:extLst>
              <a:ext uri="{FF2B5EF4-FFF2-40B4-BE49-F238E27FC236}">
                <a16:creationId xmlns:a16="http://schemas.microsoft.com/office/drawing/2014/main" id="{EBEC7CCE-A39D-4C41-B1AA-B285B26D9952}"/>
              </a:ext>
            </a:extLst>
          </p:cNvPr>
          <p:cNvSpPr>
            <a:spLocks noGrp="1"/>
          </p:cNvSpPr>
          <p:nvPr>
            <p:ph type="subTitle" idx="13" hasCustomPrompt="1"/>
          </p:nvPr>
        </p:nvSpPr>
        <p:spPr>
          <a:xfrm>
            <a:off x="250825" y="538553"/>
            <a:ext cx="6142037" cy="191697"/>
          </a:xfrm>
          <a:prstGeom prst="rect">
            <a:avLst/>
          </a:prstGeom>
        </p:spPr>
        <p:txBody>
          <a:bodyPr anchor="t">
            <a:normAutofit/>
          </a:bodyPr>
          <a:lstStyle>
            <a:lvl1pPr marL="0" indent="0" algn="l">
              <a:buNone/>
              <a:defRPr sz="1200" b="0" i="0">
                <a:solidFill>
                  <a:srgbClr val="2167AE"/>
                </a:solidFill>
                <a:latin typeface="Arial" panose="020B0604020202020204" pitchFamily="34" charset="0"/>
                <a:cs typeface="Arial" panose="020B0604020202020204" pitchFamily="34" charset="0"/>
              </a:defRPr>
            </a:lvl1pPr>
            <a:lvl2pPr marL="342854" indent="0" algn="ctr">
              <a:buNone/>
              <a:defRPr>
                <a:solidFill>
                  <a:schemeClr val="tx1">
                    <a:tint val="75000"/>
                  </a:schemeClr>
                </a:solidFill>
              </a:defRPr>
            </a:lvl2pPr>
            <a:lvl3pPr marL="685709" indent="0" algn="ctr">
              <a:buNone/>
              <a:defRPr>
                <a:solidFill>
                  <a:schemeClr val="tx1">
                    <a:tint val="75000"/>
                  </a:schemeClr>
                </a:solidFill>
              </a:defRPr>
            </a:lvl3pPr>
            <a:lvl4pPr marL="1028563" indent="0" algn="ctr">
              <a:buNone/>
              <a:defRPr>
                <a:solidFill>
                  <a:schemeClr val="tx1">
                    <a:tint val="75000"/>
                  </a:schemeClr>
                </a:solidFill>
              </a:defRPr>
            </a:lvl4pPr>
            <a:lvl5pPr marL="1371417" indent="0" algn="ctr">
              <a:buNone/>
              <a:defRPr>
                <a:solidFill>
                  <a:schemeClr val="tx1">
                    <a:tint val="75000"/>
                  </a:schemeClr>
                </a:solidFill>
              </a:defRPr>
            </a:lvl5pPr>
            <a:lvl6pPr marL="1714271" indent="0" algn="ctr">
              <a:buNone/>
              <a:defRPr>
                <a:solidFill>
                  <a:schemeClr val="tx1">
                    <a:tint val="75000"/>
                  </a:schemeClr>
                </a:solidFill>
              </a:defRPr>
            </a:lvl6pPr>
            <a:lvl7pPr marL="2057126" indent="0" algn="ctr">
              <a:buNone/>
              <a:defRPr>
                <a:solidFill>
                  <a:schemeClr val="tx1">
                    <a:tint val="75000"/>
                  </a:schemeClr>
                </a:solidFill>
              </a:defRPr>
            </a:lvl7pPr>
            <a:lvl8pPr marL="2399980" indent="0" algn="ctr">
              <a:buNone/>
              <a:defRPr>
                <a:solidFill>
                  <a:schemeClr val="tx1">
                    <a:tint val="75000"/>
                  </a:schemeClr>
                </a:solidFill>
              </a:defRPr>
            </a:lvl8pPr>
            <a:lvl9pPr marL="2742834" indent="0" algn="ctr">
              <a:buNone/>
              <a:defRPr>
                <a:solidFill>
                  <a:schemeClr val="tx1">
                    <a:tint val="75000"/>
                  </a:schemeClr>
                </a:solidFill>
              </a:defRPr>
            </a:lvl9pPr>
          </a:lstStyle>
          <a:p>
            <a:r>
              <a:rPr lang="en-GB" noProof="0" dirty="0"/>
              <a:t>Subtitle goes here</a:t>
            </a:r>
          </a:p>
        </p:txBody>
      </p:sp>
      <p:sp>
        <p:nvSpPr>
          <p:cNvPr id="5" name="Title 4">
            <a:extLst>
              <a:ext uri="{FF2B5EF4-FFF2-40B4-BE49-F238E27FC236}">
                <a16:creationId xmlns:a16="http://schemas.microsoft.com/office/drawing/2014/main" id="{47736004-DEE1-EA44-A367-43336F87EDA5}"/>
              </a:ext>
            </a:extLst>
          </p:cNvPr>
          <p:cNvSpPr>
            <a:spLocks noGrp="1"/>
          </p:cNvSpPr>
          <p:nvPr>
            <p:ph type="title" hasCustomPrompt="1"/>
          </p:nvPr>
        </p:nvSpPr>
        <p:spPr>
          <a:xfrm>
            <a:off x="250825" y="244475"/>
            <a:ext cx="6142037" cy="285750"/>
          </a:xfrm>
          <a:prstGeom prst="rect">
            <a:avLst/>
          </a:prstGeom>
        </p:spPr>
        <p:txBody>
          <a:bodyPr anchor="t"/>
          <a:lstStyle>
            <a:lvl1pPr>
              <a:defRPr>
                <a:solidFill>
                  <a:srgbClr val="2167AE"/>
                </a:solidFill>
              </a:defRPr>
            </a:lvl1pPr>
          </a:lstStyle>
          <a:p>
            <a:r>
              <a:rPr lang="en-GB" noProof="0"/>
              <a:t>Add title here</a:t>
            </a:r>
          </a:p>
        </p:txBody>
      </p:sp>
      <p:sp>
        <p:nvSpPr>
          <p:cNvPr id="2" name="Footer Placeholder 1">
            <a:extLst>
              <a:ext uri="{FF2B5EF4-FFF2-40B4-BE49-F238E27FC236}">
                <a16:creationId xmlns:a16="http://schemas.microsoft.com/office/drawing/2014/main" id="{910EC3A2-833D-B34A-8519-327DC26231F0}"/>
              </a:ext>
            </a:extLst>
          </p:cNvPr>
          <p:cNvSpPr>
            <a:spLocks noGrp="1"/>
          </p:cNvSpPr>
          <p:nvPr>
            <p:ph type="ftr" sz="quarter" idx="22"/>
          </p:nvPr>
        </p:nvSpPr>
        <p:spPr/>
        <p:txBody>
          <a:bodyPr/>
          <a:lstStyle>
            <a:lvl1pPr algn="r">
              <a:defRPr>
                <a:solidFill>
                  <a:srgbClr val="2167AE"/>
                </a:solidFill>
              </a:defRPr>
            </a:lvl1pPr>
          </a:lstStyle>
          <a:p>
            <a:endParaRPr lang="en-GB" dirty="0"/>
          </a:p>
        </p:txBody>
      </p:sp>
      <p:sp>
        <p:nvSpPr>
          <p:cNvPr id="6" name="Slide Number Placeholder 5">
            <a:extLst>
              <a:ext uri="{FF2B5EF4-FFF2-40B4-BE49-F238E27FC236}">
                <a16:creationId xmlns:a16="http://schemas.microsoft.com/office/drawing/2014/main" id="{728A3554-0C44-3B47-BD3B-F8AF6A7272B3}"/>
              </a:ext>
            </a:extLst>
          </p:cNvPr>
          <p:cNvSpPr>
            <a:spLocks noGrp="1"/>
          </p:cNvSpPr>
          <p:nvPr>
            <p:ph type="sldNum" sz="quarter" idx="23"/>
          </p:nvPr>
        </p:nvSpPr>
        <p:spPr/>
        <p:txBody>
          <a:bodyPr/>
          <a:lstStyle>
            <a:lvl1pPr>
              <a:defRPr>
                <a:solidFill>
                  <a:srgbClr val="2167AE"/>
                </a:solidFill>
              </a:defRPr>
            </a:lvl1pPr>
          </a:lstStyle>
          <a:p>
            <a:fld id="{D691331D-A62F-41F8-BAEC-0A7727B7C525}" type="slidenum">
              <a:rPr lang="en-GB" smtClean="0"/>
              <a:pPr/>
              <a:t>‹#›</a:t>
            </a:fld>
            <a:endParaRPr lang="en-GB" dirty="0"/>
          </a:p>
        </p:txBody>
      </p:sp>
      <p:pic>
        <p:nvPicPr>
          <p:cNvPr id="11" name="Picture 10">
            <a:extLst>
              <a:ext uri="{FF2B5EF4-FFF2-40B4-BE49-F238E27FC236}">
                <a16:creationId xmlns:a16="http://schemas.microsoft.com/office/drawing/2014/main" id="{758A01C2-7969-CF4F-B496-74547ADF16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42225" y="119436"/>
            <a:ext cx="1330325" cy="512964"/>
          </a:xfrm>
          <a:prstGeom prst="rect">
            <a:avLst/>
          </a:prstGeom>
        </p:spPr>
      </p:pic>
      <p:sp>
        <p:nvSpPr>
          <p:cNvPr id="16" name="Text Placeholder 16">
            <a:extLst>
              <a:ext uri="{FF2B5EF4-FFF2-40B4-BE49-F238E27FC236}">
                <a16:creationId xmlns:a16="http://schemas.microsoft.com/office/drawing/2014/main" id="{BA7463F0-6DF3-394B-BA2D-6B6AC8545C8B}"/>
              </a:ext>
            </a:extLst>
          </p:cNvPr>
          <p:cNvSpPr>
            <a:spLocks noGrp="1"/>
          </p:cNvSpPr>
          <p:nvPr>
            <p:ph type="body" sz="quarter" idx="15" hasCustomPrompt="1"/>
          </p:nvPr>
        </p:nvSpPr>
        <p:spPr>
          <a:xfrm>
            <a:off x="250825" y="934888"/>
            <a:ext cx="4260353" cy="441719"/>
          </a:xfrm>
          <a:prstGeom prst="rect">
            <a:avLst/>
          </a:prstGeom>
        </p:spPr>
        <p:txBody>
          <a:bodyPr anchor="b"/>
          <a:lstStyle>
            <a:lvl1pPr marL="0" indent="0">
              <a:buNone/>
              <a:defRPr sz="1500" b="0" i="0">
                <a:solidFill>
                  <a:srgbClr val="2167AE"/>
                </a:solidFill>
                <a:latin typeface="Arial" panose="020B0604020202020204" pitchFamily="34" charset="0"/>
                <a:cs typeface="Arial" panose="020B0604020202020204" pitchFamily="34" charset="0"/>
              </a:defRPr>
            </a:lvl1pPr>
          </a:lstStyle>
          <a:p>
            <a:pPr lvl="0"/>
            <a:r>
              <a:rPr lang="en-GB" noProof="0"/>
              <a:t>Title here</a:t>
            </a:r>
          </a:p>
        </p:txBody>
      </p:sp>
      <p:sp>
        <p:nvSpPr>
          <p:cNvPr id="17" name="Text Placeholder 16">
            <a:extLst>
              <a:ext uri="{FF2B5EF4-FFF2-40B4-BE49-F238E27FC236}">
                <a16:creationId xmlns:a16="http://schemas.microsoft.com/office/drawing/2014/main" id="{3A24BC3D-534F-C542-9E67-26EF34B5383D}"/>
              </a:ext>
            </a:extLst>
          </p:cNvPr>
          <p:cNvSpPr>
            <a:spLocks noGrp="1"/>
          </p:cNvSpPr>
          <p:nvPr>
            <p:ph type="body" sz="quarter" idx="16" hasCustomPrompt="1"/>
          </p:nvPr>
        </p:nvSpPr>
        <p:spPr>
          <a:xfrm>
            <a:off x="250825" y="1506781"/>
            <a:ext cx="4260353" cy="3270007"/>
          </a:xfrm>
          <a:prstGeom prst="rect">
            <a:avLst/>
          </a:prstGeom>
        </p:spPr>
        <p:txBody>
          <a:bodyPr>
            <a:normAutofit/>
          </a:bodyPr>
          <a:lstStyle>
            <a:lvl1pPr marL="0" indent="0">
              <a:buNone/>
              <a:defRPr sz="1000" b="0" i="0">
                <a:solidFill>
                  <a:srgbClr val="2167AE"/>
                </a:solidFill>
                <a:latin typeface="Arial" panose="020B0604020202020204" pitchFamily="34" charset="0"/>
                <a:cs typeface="Arial" panose="020B0604020202020204" pitchFamily="34" charset="0"/>
              </a:defRPr>
            </a:lvl1pPr>
          </a:lstStyle>
          <a:p>
            <a:pPr lvl="0"/>
            <a:r>
              <a:rPr lang="en-GB" noProof="0" dirty="0"/>
              <a:t>Add your text here.</a:t>
            </a:r>
          </a:p>
        </p:txBody>
      </p:sp>
      <p:sp>
        <p:nvSpPr>
          <p:cNvPr id="19" name="Text Placeholder 16">
            <a:extLst>
              <a:ext uri="{FF2B5EF4-FFF2-40B4-BE49-F238E27FC236}">
                <a16:creationId xmlns:a16="http://schemas.microsoft.com/office/drawing/2014/main" id="{C42F5D2F-015F-FC48-8122-8D00A3E72CDE}"/>
              </a:ext>
            </a:extLst>
          </p:cNvPr>
          <p:cNvSpPr>
            <a:spLocks noGrp="1"/>
          </p:cNvSpPr>
          <p:nvPr>
            <p:ph type="body" sz="quarter" idx="20" hasCustomPrompt="1"/>
          </p:nvPr>
        </p:nvSpPr>
        <p:spPr>
          <a:xfrm>
            <a:off x="4638178" y="934888"/>
            <a:ext cx="4254997" cy="441719"/>
          </a:xfrm>
          <a:prstGeom prst="rect">
            <a:avLst/>
          </a:prstGeom>
        </p:spPr>
        <p:txBody>
          <a:bodyPr anchor="b"/>
          <a:lstStyle>
            <a:lvl1pPr marL="0" indent="0">
              <a:buNone/>
              <a:defRPr sz="1500" b="0" i="0">
                <a:solidFill>
                  <a:srgbClr val="2167AE"/>
                </a:solidFill>
                <a:latin typeface="Arial" panose="020B0604020202020204" pitchFamily="34" charset="0"/>
                <a:cs typeface="Arial" panose="020B0604020202020204" pitchFamily="34" charset="0"/>
              </a:defRPr>
            </a:lvl1pPr>
          </a:lstStyle>
          <a:p>
            <a:pPr lvl="0"/>
            <a:r>
              <a:rPr lang="en-GB" noProof="0" dirty="0"/>
              <a:t>Title here</a:t>
            </a:r>
          </a:p>
        </p:txBody>
      </p:sp>
      <p:sp>
        <p:nvSpPr>
          <p:cNvPr id="20" name="Text Placeholder 16">
            <a:extLst>
              <a:ext uri="{FF2B5EF4-FFF2-40B4-BE49-F238E27FC236}">
                <a16:creationId xmlns:a16="http://schemas.microsoft.com/office/drawing/2014/main" id="{E4C30EDB-CDF1-614C-AFAC-F8F340B528BC}"/>
              </a:ext>
            </a:extLst>
          </p:cNvPr>
          <p:cNvSpPr>
            <a:spLocks noGrp="1"/>
          </p:cNvSpPr>
          <p:nvPr>
            <p:ph type="body" sz="quarter" idx="21" hasCustomPrompt="1"/>
          </p:nvPr>
        </p:nvSpPr>
        <p:spPr>
          <a:xfrm>
            <a:off x="4638178" y="1508621"/>
            <a:ext cx="4254997" cy="3260046"/>
          </a:xfrm>
          <a:prstGeom prst="rect">
            <a:avLst/>
          </a:prstGeom>
        </p:spPr>
        <p:txBody>
          <a:bodyPr>
            <a:normAutofit/>
          </a:bodyPr>
          <a:lstStyle>
            <a:lvl1pPr marL="0" indent="0">
              <a:buNone/>
              <a:defRPr sz="1000" b="0" i="0">
                <a:solidFill>
                  <a:srgbClr val="2167AE"/>
                </a:solidFill>
                <a:latin typeface="Arial" panose="020B0604020202020204" pitchFamily="34" charset="0"/>
                <a:cs typeface="Arial" panose="020B0604020202020204" pitchFamily="34" charset="0"/>
              </a:defRPr>
            </a:lvl1pPr>
          </a:lstStyle>
          <a:p>
            <a:pPr lvl="0"/>
            <a:r>
              <a:rPr lang="en-GB" noProof="0" dirty="0"/>
              <a:t>Add your text here.</a:t>
            </a:r>
          </a:p>
        </p:txBody>
      </p:sp>
    </p:spTree>
    <p:extLst>
      <p:ext uri="{BB962C8B-B14F-4D97-AF65-F5344CB8AC3E}">
        <p14:creationId xmlns:p14="http://schemas.microsoft.com/office/powerpoint/2010/main" val="35835369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60CFDEA-A8EF-4639-8D8A-F211C5872BE9}"/>
              </a:ext>
            </a:extLst>
          </p:cNvPr>
          <p:cNvGraphicFramePr>
            <a:graphicFrameLocks noChangeAspect="1"/>
          </p:cNvGraphicFramePr>
          <p:nvPr userDrawn="1">
            <p:custDataLst>
              <p:tags r:id="rId24"/>
            </p:custDataLst>
            <p:extLst>
              <p:ext uri="{D42A27DB-BD31-4B8C-83A1-F6EECF244321}">
                <p14:modId xmlns:p14="http://schemas.microsoft.com/office/powerpoint/2010/main" val="33709574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6" imgW="624" imgH="623" progId="TCLayout.ActiveDocument.1">
                  <p:embed/>
                </p:oleObj>
              </mc:Choice>
              <mc:Fallback>
                <p:oleObj name="think-cell Slide" r:id="rId26" imgW="624" imgH="623" progId="TCLayout.ActiveDocument.1">
                  <p:embed/>
                  <p:pic>
                    <p:nvPicPr>
                      <p:cNvPr id="11" name="Object 10" hidden="1">
                        <a:extLst>
                          <a:ext uri="{FF2B5EF4-FFF2-40B4-BE49-F238E27FC236}">
                            <a16:creationId xmlns:a16="http://schemas.microsoft.com/office/drawing/2014/main" id="{B60CFDEA-A8EF-4639-8D8A-F211C5872BE9}"/>
                          </a:ext>
                        </a:extLst>
                      </p:cNvPr>
                      <p:cNvPicPr/>
                      <p:nvPr/>
                    </p:nvPicPr>
                    <p:blipFill>
                      <a:blip r:embed="rId27"/>
                      <a:stretch>
                        <a:fillRect/>
                      </a:stretch>
                    </p:blipFill>
                    <p:spPr>
                      <a:xfrm>
                        <a:off x="1191" y="1191"/>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BA454B5-14E0-4658-860F-71C734B91546}"/>
              </a:ext>
            </a:extLst>
          </p:cNvPr>
          <p:cNvSpPr/>
          <p:nvPr userDrawn="1">
            <p:custDataLst>
              <p:tags r:id="rId25"/>
            </p:custDataLst>
          </p:nvPr>
        </p:nvSpPr>
        <p:spPr bwMode="auto">
          <a:xfrm>
            <a:off x="0" y="0"/>
            <a:ext cx="119047" cy="119063"/>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709" rtl="0" eaLnBrk="1" fontAlgn="base" latinLnBrk="0" hangingPunct="1">
              <a:lnSpc>
                <a:spcPct val="100000"/>
              </a:lnSpc>
              <a:spcBef>
                <a:spcPct val="0"/>
              </a:spcBef>
              <a:spcAft>
                <a:spcPct val="0"/>
              </a:spcAft>
              <a:buClrTx/>
              <a:buSzTx/>
              <a:buFontTx/>
              <a:buNone/>
              <a:tabLst/>
            </a:pPr>
            <a:endParaRPr kumimoji="0" lang="de-CH" sz="1800" b="0" i="0" u="none" strike="noStrike" cap="none" normalizeH="0" baseline="0">
              <a:ln>
                <a:noFill/>
              </a:ln>
              <a:effectLst/>
              <a:latin typeface="Zurich Sans" panose="02000000000000000000" pitchFamily="2" charset="0"/>
              <a:ea typeface="+mj-ea"/>
              <a:cs typeface="+mj-cs"/>
              <a:sym typeface="Frutiger 55 Roman" panose="020B0503030504020204" pitchFamily="34" charset="0"/>
            </a:endParaRPr>
          </a:p>
        </p:txBody>
      </p:sp>
      <p:sp>
        <p:nvSpPr>
          <p:cNvPr id="9" name="Text Placeholder 8">
            <a:extLst>
              <a:ext uri="{FF2B5EF4-FFF2-40B4-BE49-F238E27FC236}">
                <a16:creationId xmlns:a16="http://schemas.microsoft.com/office/drawing/2014/main" id="{C67E85AF-82F3-794C-93D5-DDA2C25F9264}"/>
              </a:ext>
            </a:extLst>
          </p:cNvPr>
          <p:cNvSpPr>
            <a:spLocks noGrp="1"/>
          </p:cNvSpPr>
          <p:nvPr>
            <p:ph type="body" idx="1"/>
          </p:nvPr>
        </p:nvSpPr>
        <p:spPr>
          <a:xfrm>
            <a:off x="250825" y="828674"/>
            <a:ext cx="8642350" cy="3948113"/>
          </a:xfrm>
          <a:prstGeom prst="rect">
            <a:avLst/>
          </a:prstGeom>
        </p:spPr>
        <p:txBody>
          <a:bodyPr vert="horz" lIns="0" tIns="0" rIns="0" bIns="0" rtlCol="0" anchor="t">
            <a:normAutofit/>
          </a:bodyPr>
          <a:lstStyle/>
          <a:p>
            <a:pPr lvl="0"/>
            <a:r>
              <a:rPr lang="en-GB" dirty="0"/>
              <a:t>Click to edit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1" name="Title Placeholder 70">
            <a:extLst>
              <a:ext uri="{FF2B5EF4-FFF2-40B4-BE49-F238E27FC236}">
                <a16:creationId xmlns:a16="http://schemas.microsoft.com/office/drawing/2014/main" id="{6B841514-E8E7-C545-8223-E26B4B495299}"/>
              </a:ext>
            </a:extLst>
          </p:cNvPr>
          <p:cNvSpPr>
            <a:spLocks noGrp="1"/>
          </p:cNvSpPr>
          <p:nvPr>
            <p:ph type="title"/>
          </p:nvPr>
        </p:nvSpPr>
        <p:spPr>
          <a:xfrm>
            <a:off x="250825" y="244476"/>
            <a:ext cx="7391400" cy="285750"/>
          </a:xfrm>
          <a:prstGeom prst="rect">
            <a:avLst/>
          </a:prstGeom>
        </p:spPr>
        <p:txBody>
          <a:bodyPr vert="horz" lIns="0" tIns="45720" rIns="91440" bIns="45720" rtlCol="0" anchor="t">
            <a:normAutofit/>
          </a:bodyPr>
          <a:lstStyle/>
          <a:p>
            <a:r>
              <a:rPr lang="en-GB" dirty="0"/>
              <a:t>Click to edit title</a:t>
            </a:r>
          </a:p>
        </p:txBody>
      </p:sp>
      <p:sp>
        <p:nvSpPr>
          <p:cNvPr id="73" name="Slide Number Placeholder 2">
            <a:extLst>
              <a:ext uri="{FF2B5EF4-FFF2-40B4-BE49-F238E27FC236}">
                <a16:creationId xmlns:a16="http://schemas.microsoft.com/office/drawing/2014/main" id="{EBEAB14B-07A5-3F43-B179-8DD087ED7263}"/>
              </a:ext>
            </a:extLst>
          </p:cNvPr>
          <p:cNvSpPr>
            <a:spLocks noGrp="1"/>
          </p:cNvSpPr>
          <p:nvPr>
            <p:ph type="sldNum" sz="quarter" idx="4"/>
          </p:nvPr>
        </p:nvSpPr>
        <p:spPr>
          <a:xfrm>
            <a:off x="7766050" y="4878930"/>
            <a:ext cx="1127125" cy="145134"/>
          </a:xfrm>
          <a:prstGeom prst="rect">
            <a:avLst/>
          </a:prstGeom>
        </p:spPr>
        <p:txBody>
          <a:bodyPr lIns="0" tIns="0" rIns="0" bIns="0" anchor="t"/>
          <a:lstStyle>
            <a:lvl1pPr algn="r">
              <a:defRPr sz="800">
                <a:solidFill>
                  <a:srgbClr val="2167AE"/>
                </a:solidFill>
                <a:latin typeface="Arial" panose="020B0604020202020204" pitchFamily="34" charset="0"/>
                <a:cs typeface="Arial" panose="020B0604020202020204" pitchFamily="34" charset="0"/>
              </a:defRPr>
            </a:lvl1pPr>
          </a:lstStyle>
          <a:p>
            <a:fld id="{D691331D-A62F-41F8-BAEC-0A7727B7C525}" type="slidenum">
              <a:rPr lang="en-GB" smtClean="0"/>
              <a:pPr/>
              <a:t>‹#›</a:t>
            </a:fld>
            <a:endParaRPr lang="en-GB" dirty="0"/>
          </a:p>
        </p:txBody>
      </p:sp>
      <p:sp>
        <p:nvSpPr>
          <p:cNvPr id="74" name="Footer Placeholder 3">
            <a:extLst>
              <a:ext uri="{FF2B5EF4-FFF2-40B4-BE49-F238E27FC236}">
                <a16:creationId xmlns:a16="http://schemas.microsoft.com/office/drawing/2014/main" id="{E374F3E5-895A-614A-A91A-358DF000BA90}"/>
              </a:ext>
            </a:extLst>
          </p:cNvPr>
          <p:cNvSpPr>
            <a:spLocks noGrp="1"/>
          </p:cNvSpPr>
          <p:nvPr>
            <p:ph type="ftr" sz="quarter" idx="3"/>
          </p:nvPr>
        </p:nvSpPr>
        <p:spPr>
          <a:xfrm>
            <a:off x="1504950" y="4878930"/>
            <a:ext cx="6137275" cy="145134"/>
          </a:xfrm>
          <a:prstGeom prst="rect">
            <a:avLst/>
          </a:prstGeom>
        </p:spPr>
        <p:txBody>
          <a:bodyPr lIns="0" tIns="0" rIns="0" bIns="0" anchor="t"/>
          <a:lstStyle>
            <a:lvl1pPr algn="r">
              <a:defRPr sz="800">
                <a:solidFill>
                  <a:srgbClr val="2167AE"/>
                </a:solidFill>
                <a:latin typeface="Arial" panose="020B0604020202020204" pitchFamily="34" charset="0"/>
                <a:cs typeface="Arial" panose="020B0604020202020204" pitchFamily="34" charset="0"/>
              </a:defRPr>
            </a:lvl1pPr>
          </a:lstStyle>
          <a:p>
            <a:endParaRPr lang="en-GB" dirty="0"/>
          </a:p>
        </p:txBody>
      </p:sp>
    </p:spTree>
    <p:extLst>
      <p:ext uri="{BB962C8B-B14F-4D97-AF65-F5344CB8AC3E}">
        <p14:creationId xmlns:p14="http://schemas.microsoft.com/office/powerpoint/2010/main" val="50021311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6" r:id="rId3"/>
    <p:sldLayoutId id="2147483796" r:id="rId4"/>
    <p:sldLayoutId id="2147483801" r:id="rId5"/>
    <p:sldLayoutId id="2147483772" r:id="rId6"/>
    <p:sldLayoutId id="2147483804" r:id="rId7"/>
    <p:sldLayoutId id="2147483807" r:id="rId8"/>
    <p:sldLayoutId id="2147483774" r:id="rId9"/>
    <p:sldLayoutId id="2147483794" r:id="rId10"/>
    <p:sldLayoutId id="2147483795" r:id="rId11"/>
    <p:sldLayoutId id="2147483797" r:id="rId12"/>
    <p:sldLayoutId id="2147483809" r:id="rId13"/>
    <p:sldLayoutId id="2147483806" r:id="rId14"/>
    <p:sldLayoutId id="2147483802" r:id="rId15"/>
    <p:sldLayoutId id="2147483800" r:id="rId16"/>
    <p:sldLayoutId id="2147483799" r:id="rId17"/>
    <p:sldLayoutId id="2147483803" r:id="rId18"/>
    <p:sldLayoutId id="2147483808" r:id="rId19"/>
    <p:sldLayoutId id="2147483775" r:id="rId20"/>
    <p:sldLayoutId id="2147483776" r:id="rId21"/>
    <p:sldLayoutId id="2147483810" r:id="rId22"/>
  </p:sldLayoutIdLst>
  <p:hf hdr="0" ftr="0"/>
  <p:txStyles>
    <p:titleStyle>
      <a:lvl1pPr algn="l" rtl="0" eaLnBrk="1" fontAlgn="base" hangingPunct="1">
        <a:lnSpc>
          <a:spcPct val="90000"/>
        </a:lnSpc>
        <a:spcBef>
          <a:spcPct val="0"/>
        </a:spcBef>
        <a:spcAft>
          <a:spcPct val="0"/>
        </a:spcAft>
        <a:defRPr sz="1800" b="0" i="0">
          <a:solidFill>
            <a:srgbClr val="2167AE"/>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2100" b="1">
          <a:solidFill>
            <a:srgbClr val="000066"/>
          </a:solidFill>
          <a:latin typeface="Frutiger 45 Light" pitchFamily="34" charset="0"/>
        </a:defRPr>
      </a:lvl2pPr>
      <a:lvl3pPr algn="l" rtl="0" eaLnBrk="1" fontAlgn="base" hangingPunct="1">
        <a:lnSpc>
          <a:spcPct val="90000"/>
        </a:lnSpc>
        <a:spcBef>
          <a:spcPct val="0"/>
        </a:spcBef>
        <a:spcAft>
          <a:spcPct val="0"/>
        </a:spcAft>
        <a:defRPr sz="2100" b="1">
          <a:solidFill>
            <a:srgbClr val="000066"/>
          </a:solidFill>
          <a:latin typeface="Frutiger 45 Light" pitchFamily="34" charset="0"/>
        </a:defRPr>
      </a:lvl3pPr>
      <a:lvl4pPr algn="l" rtl="0" eaLnBrk="1" fontAlgn="base" hangingPunct="1">
        <a:lnSpc>
          <a:spcPct val="90000"/>
        </a:lnSpc>
        <a:spcBef>
          <a:spcPct val="0"/>
        </a:spcBef>
        <a:spcAft>
          <a:spcPct val="0"/>
        </a:spcAft>
        <a:defRPr sz="2100" b="1">
          <a:solidFill>
            <a:srgbClr val="000066"/>
          </a:solidFill>
          <a:latin typeface="Frutiger 45 Light" pitchFamily="34" charset="0"/>
        </a:defRPr>
      </a:lvl4pPr>
      <a:lvl5pPr algn="l" rtl="0" eaLnBrk="1" fontAlgn="base" hangingPunct="1">
        <a:lnSpc>
          <a:spcPct val="90000"/>
        </a:lnSpc>
        <a:spcBef>
          <a:spcPct val="0"/>
        </a:spcBef>
        <a:spcAft>
          <a:spcPct val="0"/>
        </a:spcAft>
        <a:defRPr sz="2100" b="1">
          <a:solidFill>
            <a:srgbClr val="000066"/>
          </a:solidFill>
          <a:latin typeface="Frutiger 45 Light" pitchFamily="34" charset="0"/>
        </a:defRPr>
      </a:lvl5pPr>
      <a:lvl6pPr marL="342854" algn="l" rtl="0" eaLnBrk="1" fontAlgn="base" hangingPunct="1">
        <a:lnSpc>
          <a:spcPct val="90000"/>
        </a:lnSpc>
        <a:spcBef>
          <a:spcPct val="0"/>
        </a:spcBef>
        <a:spcAft>
          <a:spcPct val="0"/>
        </a:spcAft>
        <a:defRPr sz="2100" b="1">
          <a:solidFill>
            <a:srgbClr val="000066"/>
          </a:solidFill>
          <a:latin typeface="Frutiger 45 Light" pitchFamily="34" charset="0"/>
        </a:defRPr>
      </a:lvl6pPr>
      <a:lvl7pPr marL="685709" algn="l" rtl="0" eaLnBrk="1" fontAlgn="base" hangingPunct="1">
        <a:lnSpc>
          <a:spcPct val="90000"/>
        </a:lnSpc>
        <a:spcBef>
          <a:spcPct val="0"/>
        </a:spcBef>
        <a:spcAft>
          <a:spcPct val="0"/>
        </a:spcAft>
        <a:defRPr sz="2100" b="1">
          <a:solidFill>
            <a:srgbClr val="000066"/>
          </a:solidFill>
          <a:latin typeface="Frutiger 45 Light" pitchFamily="34" charset="0"/>
        </a:defRPr>
      </a:lvl7pPr>
      <a:lvl8pPr marL="1028563" algn="l" rtl="0" eaLnBrk="1" fontAlgn="base" hangingPunct="1">
        <a:lnSpc>
          <a:spcPct val="90000"/>
        </a:lnSpc>
        <a:spcBef>
          <a:spcPct val="0"/>
        </a:spcBef>
        <a:spcAft>
          <a:spcPct val="0"/>
        </a:spcAft>
        <a:defRPr sz="2100" b="1">
          <a:solidFill>
            <a:srgbClr val="000066"/>
          </a:solidFill>
          <a:latin typeface="Frutiger 45 Light" pitchFamily="34" charset="0"/>
        </a:defRPr>
      </a:lvl8pPr>
      <a:lvl9pPr marL="1371417" algn="l" rtl="0" eaLnBrk="1" fontAlgn="base" hangingPunct="1">
        <a:lnSpc>
          <a:spcPct val="90000"/>
        </a:lnSpc>
        <a:spcBef>
          <a:spcPct val="0"/>
        </a:spcBef>
        <a:spcAft>
          <a:spcPct val="0"/>
        </a:spcAft>
        <a:defRPr sz="2100" b="1">
          <a:solidFill>
            <a:srgbClr val="000066"/>
          </a:solidFill>
          <a:latin typeface="Frutiger 45 Light" pitchFamily="34" charset="0"/>
        </a:defRPr>
      </a:lvl9pPr>
    </p:titleStyle>
    <p:bodyStyle>
      <a:lvl1pPr marL="0" indent="0" algn="l" rtl="0" eaLnBrk="1" fontAlgn="base" hangingPunct="1">
        <a:spcBef>
          <a:spcPts val="0"/>
        </a:spcBef>
        <a:spcAft>
          <a:spcPts val="225"/>
        </a:spcAft>
        <a:buClr>
          <a:srgbClr val="1C67AF"/>
        </a:buClr>
        <a:buSzPct val="100000"/>
        <a:buFont typeface="Symbol" pitchFamily="2" charset="2"/>
        <a:buNone/>
        <a:tabLst/>
        <a:defRPr sz="1200" b="0" i="0">
          <a:solidFill>
            <a:srgbClr val="2167AE"/>
          </a:solidFill>
          <a:latin typeface="Arial" panose="020B0604020202020204" pitchFamily="34" charset="0"/>
          <a:ea typeface="+mn-ea"/>
          <a:cs typeface="Arial" panose="020B0604020202020204" pitchFamily="34" charset="0"/>
        </a:defRPr>
      </a:lvl1pPr>
      <a:lvl2pPr marL="339283" indent="-135713" algn="l" rtl="0" eaLnBrk="1" fontAlgn="base" hangingPunct="1">
        <a:spcBef>
          <a:spcPts val="0"/>
        </a:spcBef>
        <a:spcAft>
          <a:spcPts val="225"/>
        </a:spcAft>
        <a:buClr>
          <a:srgbClr val="1C67AF"/>
        </a:buClr>
        <a:buSzPct val="100000"/>
        <a:buFont typeface="Arial" panose="020B0604020202020204" pitchFamily="34" charset="0"/>
        <a:buChar char="•"/>
        <a:tabLst/>
        <a:defRPr sz="1200" b="0" i="0">
          <a:solidFill>
            <a:srgbClr val="2167AE"/>
          </a:solidFill>
          <a:latin typeface="Arial" panose="020B0604020202020204" pitchFamily="34" charset="0"/>
          <a:cs typeface="Arial" panose="020B0604020202020204" pitchFamily="34" charset="0"/>
        </a:defRPr>
      </a:lvl2pPr>
      <a:lvl3pPr marL="534520" indent="-127380" algn="l" rtl="0" eaLnBrk="1" fontAlgn="base" hangingPunct="1">
        <a:spcBef>
          <a:spcPts val="0"/>
        </a:spcBef>
        <a:spcAft>
          <a:spcPts val="225"/>
        </a:spcAft>
        <a:buClr>
          <a:srgbClr val="1C67AF"/>
        </a:buClr>
        <a:buSzPct val="70000"/>
        <a:buFont typeface="Courier New" panose="02070309020205020404" pitchFamily="49" charset="0"/>
        <a:buChar char="o"/>
        <a:tabLst/>
        <a:defRPr sz="1200" b="0" i="0">
          <a:solidFill>
            <a:srgbClr val="2167AE"/>
          </a:solidFill>
          <a:latin typeface="Arial" panose="020B0604020202020204" pitchFamily="34" charset="0"/>
          <a:cs typeface="Arial" panose="020B0604020202020204" pitchFamily="34" charset="0"/>
        </a:defRPr>
      </a:lvl3pPr>
      <a:lvl4pPr marL="739280" indent="-133332" algn="l" rtl="0" eaLnBrk="1" fontAlgn="base" hangingPunct="1">
        <a:spcBef>
          <a:spcPts val="0"/>
        </a:spcBef>
        <a:spcAft>
          <a:spcPts val="225"/>
        </a:spcAft>
        <a:buClr>
          <a:srgbClr val="1C67AF"/>
        </a:buClr>
        <a:buSzPct val="70000"/>
        <a:buFont typeface="Courier New" panose="02070309020205020404" pitchFamily="49" charset="0"/>
        <a:buChar char="o"/>
        <a:tabLst/>
        <a:defRPr sz="1200" b="0" i="0">
          <a:solidFill>
            <a:srgbClr val="2167AE"/>
          </a:solidFill>
          <a:latin typeface="Arial" panose="020B0604020202020204" pitchFamily="34" charset="0"/>
          <a:cs typeface="Arial" panose="020B0604020202020204" pitchFamily="34" charset="0"/>
        </a:defRPr>
      </a:lvl4pPr>
      <a:lvl5pPr marL="934516" indent="-128570" algn="l" rtl="0" eaLnBrk="1" fontAlgn="base" hangingPunct="1">
        <a:spcBef>
          <a:spcPts val="0"/>
        </a:spcBef>
        <a:spcAft>
          <a:spcPts val="225"/>
        </a:spcAft>
        <a:buClr>
          <a:srgbClr val="1C67AF"/>
        </a:buClr>
        <a:buSzPct val="70000"/>
        <a:buFont typeface="Courier New" panose="02070309020205020404" pitchFamily="49" charset="0"/>
        <a:buChar char="o"/>
        <a:tabLst/>
        <a:defRPr sz="1200" b="0" i="0">
          <a:solidFill>
            <a:srgbClr val="2167AE"/>
          </a:solidFill>
          <a:latin typeface="Arial" panose="020B0604020202020204" pitchFamily="34" charset="0"/>
          <a:cs typeface="Arial" panose="020B0604020202020204" pitchFamily="34" charset="0"/>
        </a:defRPr>
      </a:lvl5pPr>
      <a:lvl6pPr marL="1210705" indent="-214284" algn="l" rtl="0" eaLnBrk="1" fontAlgn="base" hangingPunct="1">
        <a:spcBef>
          <a:spcPts val="0"/>
        </a:spcBef>
        <a:spcAft>
          <a:spcPts val="225"/>
        </a:spcAft>
        <a:buClr>
          <a:srgbClr val="000066"/>
        </a:buClr>
        <a:buSzPct val="100000"/>
        <a:buFont typeface="Frutiger 55 Roman" pitchFamily="34" charset="0"/>
        <a:buChar char="–"/>
        <a:defRPr sz="1350" baseline="0">
          <a:solidFill>
            <a:schemeClr val="tx1"/>
          </a:solidFill>
          <a:latin typeface="+mj-lt"/>
        </a:defRPr>
      </a:lvl6pPr>
      <a:lvl7pPr marL="1410703" indent="-214284" algn="l" rtl="0" eaLnBrk="1" fontAlgn="base" hangingPunct="1">
        <a:spcBef>
          <a:spcPts val="0"/>
        </a:spcBef>
        <a:spcAft>
          <a:spcPts val="225"/>
        </a:spcAft>
        <a:buClr>
          <a:srgbClr val="000066"/>
        </a:buClr>
        <a:buSzPct val="100000"/>
        <a:buFont typeface="Frutiger 55 Roman" pitchFamily="34" charset="0"/>
        <a:buChar char="–"/>
        <a:defRPr sz="1350" baseline="0">
          <a:solidFill>
            <a:schemeClr val="tx1"/>
          </a:solidFill>
          <a:latin typeface="+mj-lt"/>
        </a:defRPr>
      </a:lvl7pPr>
      <a:lvl8pPr marL="1620225" indent="-214284" algn="l" rtl="0" eaLnBrk="1" fontAlgn="base" hangingPunct="1">
        <a:spcBef>
          <a:spcPts val="0"/>
        </a:spcBef>
        <a:spcAft>
          <a:spcPts val="225"/>
        </a:spcAft>
        <a:buClr>
          <a:srgbClr val="000066"/>
        </a:buClr>
        <a:buSzPct val="100000"/>
        <a:buFont typeface="Frutiger 55 Roman" pitchFamily="34" charset="0"/>
        <a:buChar char="–"/>
        <a:defRPr sz="1200" baseline="0">
          <a:solidFill>
            <a:schemeClr val="tx1"/>
          </a:solidFill>
          <a:latin typeface="+mj-lt"/>
        </a:defRPr>
      </a:lvl8pPr>
      <a:lvl9pPr marL="1820223" indent="-214284" algn="l" rtl="0" eaLnBrk="1" fontAlgn="base" hangingPunct="1">
        <a:spcBef>
          <a:spcPts val="0"/>
        </a:spcBef>
        <a:spcAft>
          <a:spcPts val="225"/>
        </a:spcAft>
        <a:buClr>
          <a:srgbClr val="000066"/>
        </a:buClr>
        <a:buSzPct val="100000"/>
        <a:buFont typeface="Frutiger 55 Roman" pitchFamily="34" charset="0"/>
        <a:buChar char="–"/>
        <a:defRPr sz="1200" baseline="0">
          <a:solidFill>
            <a:schemeClr val="tx1"/>
          </a:solidFill>
          <a:latin typeface="+mj-lt"/>
        </a:defRPr>
      </a:lvl9pPr>
    </p:bodyStyle>
    <p:otherStyle>
      <a:defPPr>
        <a:defRPr lang="de-DE"/>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7" userDrawn="1">
          <p15:clr>
            <a:srgbClr val="F26B43"/>
          </p15:clr>
        </p15:guide>
        <p15:guide id="2" pos="2880" userDrawn="1">
          <p15:clr>
            <a:srgbClr val="F26B43"/>
          </p15:clr>
        </p15:guide>
        <p15:guide id="3" pos="158" userDrawn="1">
          <p15:clr>
            <a:srgbClr val="F26B43"/>
          </p15:clr>
        </p15:guide>
        <p15:guide id="4" pos="5602" userDrawn="1">
          <p15:clr>
            <a:srgbClr val="F26B43"/>
          </p15:clr>
        </p15:guide>
        <p15:guide id="5" orient="horz" pos="154" userDrawn="1">
          <p15:clr>
            <a:srgbClr val="F26B43"/>
          </p15:clr>
        </p15:guide>
        <p15:guide id="6" orient="horz" pos="3072" userDrawn="1">
          <p15:clr>
            <a:srgbClr val="F26B43"/>
          </p15:clr>
        </p15:guide>
        <p15:guide id="7" orient="horz" pos="334" userDrawn="1">
          <p15:clr>
            <a:srgbClr val="F26B43"/>
          </p15:clr>
        </p15:guide>
        <p15:guide id="8" orient="horz" pos="3009" userDrawn="1">
          <p15:clr>
            <a:srgbClr val="F26B43"/>
          </p15:clr>
        </p15:guide>
        <p15:guide id="9" pos="1658" userDrawn="1">
          <p15:clr>
            <a:srgbClr val="F26B43"/>
          </p15:clr>
        </p15:guide>
        <p15:guide id="10" pos="870" userDrawn="1">
          <p15:clr>
            <a:srgbClr val="F26B43"/>
          </p15:clr>
        </p15:guide>
        <p15:guide id="11" pos="1736" userDrawn="1">
          <p15:clr>
            <a:srgbClr val="F26B43"/>
          </p15:clr>
        </p15:guide>
        <p15:guide id="12" pos="948" userDrawn="1">
          <p15:clr>
            <a:srgbClr val="F26B43"/>
          </p15:clr>
        </p15:guide>
        <p15:guide id="13" pos="2526" userDrawn="1">
          <p15:clr>
            <a:srgbClr val="F26B43"/>
          </p15:clr>
        </p15:guide>
        <p15:guide id="14" pos="2446" userDrawn="1">
          <p15:clr>
            <a:srgbClr val="F26B43"/>
          </p15:clr>
        </p15:guide>
        <p15:guide id="15" pos="3236" userDrawn="1">
          <p15:clr>
            <a:srgbClr val="F26B43"/>
          </p15:clr>
        </p15:guide>
        <p15:guide id="16" pos="3316" userDrawn="1">
          <p15:clr>
            <a:srgbClr val="F26B43"/>
          </p15:clr>
        </p15:guide>
        <p15:guide id="17" pos="4026" userDrawn="1">
          <p15:clr>
            <a:srgbClr val="F26B43"/>
          </p15:clr>
        </p15:guide>
        <p15:guide id="18" pos="4104" userDrawn="1">
          <p15:clr>
            <a:srgbClr val="F26B43"/>
          </p15:clr>
        </p15:guide>
        <p15:guide id="19" pos="4892" userDrawn="1">
          <p15:clr>
            <a:srgbClr val="F26B43"/>
          </p15:clr>
        </p15:guide>
        <p15:guide id="20" pos="4814" userDrawn="1">
          <p15:clr>
            <a:srgbClr val="F26B43"/>
          </p15:clr>
        </p15:guide>
        <p15:guide id="21" orient="horz" pos="460" userDrawn="1">
          <p15:clr>
            <a:srgbClr val="F26B43"/>
          </p15:clr>
        </p15:guide>
        <p15:guide id="22" orient="horz" pos="52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tags" Target="../tags/tag14.xml"/><Relationship Id="rId7" Type="http://schemas.openxmlformats.org/officeDocument/2006/relationships/oleObject" Target="../embeddings/oleObject9.bin"/><Relationship Id="rId12" Type="http://schemas.openxmlformats.org/officeDocument/2006/relationships/image" Target="../media/image10.svg"/><Relationship Id="rId17" Type="http://schemas.openxmlformats.org/officeDocument/2006/relationships/image" Target="../media/image15.png"/><Relationship Id="rId2" Type="http://schemas.openxmlformats.org/officeDocument/2006/relationships/tags" Target="../tags/tag13.xml"/><Relationship Id="rId16" Type="http://schemas.openxmlformats.org/officeDocument/2006/relationships/image" Target="../media/image14.svg"/><Relationship Id="rId20" Type="http://schemas.openxmlformats.org/officeDocument/2006/relationships/image" Target="../media/image18.png"/><Relationship Id="rId1" Type="http://schemas.openxmlformats.org/officeDocument/2006/relationships/tags" Target="../tags/tag12.xml"/><Relationship Id="rId6" Type="http://schemas.openxmlformats.org/officeDocument/2006/relationships/slideLayout" Target="../slideLayouts/slideLayout7.xml"/><Relationship Id="rId11" Type="http://schemas.openxmlformats.org/officeDocument/2006/relationships/image" Target="../media/image9.png"/><Relationship Id="rId5" Type="http://schemas.openxmlformats.org/officeDocument/2006/relationships/tags" Target="../tags/tag16.xml"/><Relationship Id="rId15" Type="http://schemas.openxmlformats.org/officeDocument/2006/relationships/image" Target="../media/image13.png"/><Relationship Id="rId10" Type="http://schemas.openxmlformats.org/officeDocument/2006/relationships/image" Target="../media/image8.svg"/><Relationship Id="rId19" Type="http://schemas.openxmlformats.org/officeDocument/2006/relationships/image" Target="../media/image17.svg"/><Relationship Id="rId4" Type="http://schemas.openxmlformats.org/officeDocument/2006/relationships/tags" Target="../tags/tag15.xml"/><Relationship Id="rId9" Type="http://schemas.openxmlformats.org/officeDocument/2006/relationships/image" Target="../media/image7.png"/><Relationship Id="rId14" Type="http://schemas.openxmlformats.org/officeDocument/2006/relationships/image" Target="../media/image12.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1.xml"/><Relationship Id="rId1" Type="http://schemas.openxmlformats.org/officeDocument/2006/relationships/tags" Target="../tags/tag1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4A6EB-CB29-446A-AD1E-E09F0A083A3F}"/>
              </a:ext>
            </a:extLst>
          </p:cNvPr>
          <p:cNvGraphicFramePr>
            <a:graphicFrameLocks noChangeAspect="1"/>
          </p:cNvGraphicFramePr>
          <p:nvPr>
            <p:custDataLst>
              <p:tags r:id="rId1"/>
            </p:custDataLst>
            <p:extLst>
              <p:ext uri="{D42A27DB-BD31-4B8C-83A1-F6EECF244321}">
                <p14:modId xmlns:p14="http://schemas.microsoft.com/office/powerpoint/2010/main" val="191503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99" imgH="499" progId="TCLayout.ActiveDocument.1">
                  <p:embed/>
                </p:oleObj>
              </mc:Choice>
              <mc:Fallback>
                <p:oleObj name="think-cell Slide" r:id="rId7" imgW="499" imgH="499" progId="TCLayout.ActiveDocument.1">
                  <p:embed/>
                  <p:pic>
                    <p:nvPicPr>
                      <p:cNvPr id="6" name="Object 5" hidden="1">
                        <a:extLst>
                          <a:ext uri="{FF2B5EF4-FFF2-40B4-BE49-F238E27FC236}">
                            <a16:creationId xmlns:a16="http://schemas.microsoft.com/office/drawing/2014/main" id="{0634A6EB-CB29-446A-AD1E-E09F0A083A3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69E820-132F-4CA8-97D8-51925C6F2D56}"/>
              </a:ext>
            </a:extLst>
          </p:cNvPr>
          <p:cNvSpPr>
            <a:spLocks noGrp="1"/>
          </p:cNvSpPr>
          <p:nvPr>
            <p:ph type="title"/>
          </p:nvPr>
        </p:nvSpPr>
        <p:spPr/>
        <p:txBody>
          <a:bodyPr vert="horz">
            <a:noAutofit/>
          </a:bodyPr>
          <a:lstStyle/>
          <a:p>
            <a:r>
              <a:rPr lang="en-AU" b="1" dirty="0"/>
              <a:t>Zurich Asia </a:t>
            </a:r>
            <a:r>
              <a:rPr lang="en-AU" b="1"/>
              <a:t>Digital Native </a:t>
            </a:r>
            <a:r>
              <a:rPr lang="en-AU" b="1" dirty="0"/>
              <a:t>Platform</a:t>
            </a:r>
          </a:p>
        </p:txBody>
      </p:sp>
      <p:grpSp>
        <p:nvGrpSpPr>
          <p:cNvPr id="187" name="Group 186">
            <a:extLst>
              <a:ext uri="{FF2B5EF4-FFF2-40B4-BE49-F238E27FC236}">
                <a16:creationId xmlns:a16="http://schemas.microsoft.com/office/drawing/2014/main" id="{61A3A8E2-13F2-4FAB-A2B7-F3DBED0576F6}"/>
              </a:ext>
            </a:extLst>
          </p:cNvPr>
          <p:cNvGrpSpPr/>
          <p:nvPr/>
        </p:nvGrpSpPr>
        <p:grpSpPr>
          <a:xfrm>
            <a:off x="4812227" y="3479240"/>
            <a:ext cx="3674361" cy="630217"/>
            <a:chOff x="4812227" y="3458747"/>
            <a:chExt cx="3674361" cy="630217"/>
          </a:xfrm>
        </p:grpSpPr>
        <p:pic>
          <p:nvPicPr>
            <p:cNvPr id="17" name="Graphic 16">
              <a:extLst>
                <a:ext uri="{FF2B5EF4-FFF2-40B4-BE49-F238E27FC236}">
                  <a16:creationId xmlns:a16="http://schemas.microsoft.com/office/drawing/2014/main" id="{8C0C49A3-FF1B-40AD-9EFE-6D2F19CC33F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12227" y="3458747"/>
              <a:ext cx="630217" cy="630217"/>
            </a:xfrm>
            <a:prstGeom prst="rect">
              <a:avLst/>
            </a:prstGeom>
          </p:spPr>
        </p:pic>
        <p:sp>
          <p:nvSpPr>
            <p:cNvPr id="18" name="TextBox 17">
              <a:extLst>
                <a:ext uri="{FF2B5EF4-FFF2-40B4-BE49-F238E27FC236}">
                  <a16:creationId xmlns:a16="http://schemas.microsoft.com/office/drawing/2014/main" id="{A4313038-7482-495C-9042-4F1131D3C25E}"/>
                </a:ext>
              </a:extLst>
            </p:cNvPr>
            <p:cNvSpPr txBox="1"/>
            <p:nvPr/>
          </p:nvSpPr>
          <p:spPr>
            <a:xfrm>
              <a:off x="5426588" y="3566106"/>
              <a:ext cx="3060000" cy="415498"/>
            </a:xfrm>
            <a:prstGeom prst="rect">
              <a:avLst/>
            </a:prstGeom>
            <a:noFill/>
          </p:spPr>
          <p:txBody>
            <a:bodyPr wrap="square" lIns="36000" tIns="0" rIns="36000" bIns="0" rtlCol="0">
              <a:spAutoFit/>
            </a:bodyPr>
            <a:lstStyle/>
            <a:p>
              <a:pPr algn="l"/>
              <a:r>
                <a:rPr lang="en-AU" sz="1800" b="1" dirty="0">
                  <a:solidFill>
                    <a:srgbClr val="2167AE"/>
                  </a:solidFill>
                </a:rPr>
                <a:t>Speed to market</a:t>
              </a:r>
              <a:r>
                <a:rPr lang="en-AU" sz="900" dirty="0">
                  <a:solidFill>
                    <a:srgbClr val="2167AE"/>
                  </a:solidFill>
                </a:rPr>
                <a:t> with new products &amp; distribution opportunities</a:t>
              </a:r>
            </a:p>
          </p:txBody>
        </p:sp>
      </p:grpSp>
      <p:grpSp>
        <p:nvGrpSpPr>
          <p:cNvPr id="183" name="Group 182">
            <a:extLst>
              <a:ext uri="{FF2B5EF4-FFF2-40B4-BE49-F238E27FC236}">
                <a16:creationId xmlns:a16="http://schemas.microsoft.com/office/drawing/2014/main" id="{F81D9EC5-849A-4FA4-8FB4-D7BF0173238B}"/>
              </a:ext>
            </a:extLst>
          </p:cNvPr>
          <p:cNvGrpSpPr/>
          <p:nvPr/>
        </p:nvGrpSpPr>
        <p:grpSpPr>
          <a:xfrm>
            <a:off x="243803" y="2972968"/>
            <a:ext cx="3609846" cy="553998"/>
            <a:chOff x="243803" y="2706787"/>
            <a:chExt cx="3609846" cy="553998"/>
          </a:xfrm>
        </p:grpSpPr>
        <p:pic>
          <p:nvPicPr>
            <p:cNvPr id="19" name="Graphic 18">
              <a:extLst>
                <a:ext uri="{FF2B5EF4-FFF2-40B4-BE49-F238E27FC236}">
                  <a16:creationId xmlns:a16="http://schemas.microsoft.com/office/drawing/2014/main" id="{DB3DABA6-9A8A-49E5-BF64-678EB1E157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43803" y="2762370"/>
              <a:ext cx="442833" cy="442833"/>
            </a:xfrm>
            <a:prstGeom prst="rect">
              <a:avLst/>
            </a:prstGeom>
          </p:spPr>
        </p:pic>
        <p:sp>
          <p:nvSpPr>
            <p:cNvPr id="20" name="TextBox 19">
              <a:extLst>
                <a:ext uri="{FF2B5EF4-FFF2-40B4-BE49-F238E27FC236}">
                  <a16:creationId xmlns:a16="http://schemas.microsoft.com/office/drawing/2014/main" id="{431DF49F-0DCC-4473-8190-81156A02EDFD}"/>
                </a:ext>
              </a:extLst>
            </p:cNvPr>
            <p:cNvSpPr txBox="1"/>
            <p:nvPr/>
          </p:nvSpPr>
          <p:spPr>
            <a:xfrm>
              <a:off x="793649" y="2706787"/>
              <a:ext cx="3060000" cy="553998"/>
            </a:xfrm>
            <a:prstGeom prst="rect">
              <a:avLst/>
            </a:prstGeom>
            <a:noFill/>
          </p:spPr>
          <p:txBody>
            <a:bodyPr wrap="square" lIns="36000" tIns="0" rIns="36000" bIns="0" rtlCol="0">
              <a:spAutoFit/>
            </a:bodyPr>
            <a:lstStyle/>
            <a:p>
              <a:pPr algn="l"/>
              <a:r>
                <a:rPr lang="en-AU" sz="1800" b="1" dirty="0">
                  <a:solidFill>
                    <a:srgbClr val="2167AE"/>
                  </a:solidFill>
                </a:rPr>
                <a:t>Digital First</a:t>
              </a:r>
              <a:r>
                <a:rPr lang="en-AU" sz="900" b="1" dirty="0">
                  <a:solidFill>
                    <a:srgbClr val="2167AE"/>
                  </a:solidFill>
                </a:rPr>
                <a:t> </a:t>
              </a:r>
              <a:r>
                <a:rPr lang="en-AU" sz="900" dirty="0">
                  <a:solidFill>
                    <a:srgbClr val="2167AE"/>
                  </a:solidFill>
                </a:rPr>
                <a:t>end-to-end online self service and automated operations. Opportunity to be part of a true digital strategy</a:t>
              </a:r>
              <a:endParaRPr lang="en-AU" sz="1800" dirty="0">
                <a:solidFill>
                  <a:srgbClr val="2167AE"/>
                </a:solidFill>
              </a:endParaRPr>
            </a:p>
          </p:txBody>
        </p:sp>
      </p:grpSp>
      <p:grpSp>
        <p:nvGrpSpPr>
          <p:cNvPr id="184" name="Group 183">
            <a:extLst>
              <a:ext uri="{FF2B5EF4-FFF2-40B4-BE49-F238E27FC236}">
                <a16:creationId xmlns:a16="http://schemas.microsoft.com/office/drawing/2014/main" id="{C2761359-9EC7-41DA-A907-278AD1AFF27F}"/>
              </a:ext>
            </a:extLst>
          </p:cNvPr>
          <p:cNvGrpSpPr/>
          <p:nvPr/>
        </p:nvGrpSpPr>
        <p:grpSpPr>
          <a:xfrm>
            <a:off x="243803" y="3787749"/>
            <a:ext cx="3609846" cy="442833"/>
            <a:chOff x="243803" y="3691087"/>
            <a:chExt cx="3609846" cy="442833"/>
          </a:xfrm>
        </p:grpSpPr>
        <p:pic>
          <p:nvPicPr>
            <p:cNvPr id="21" name="Graphic 20">
              <a:extLst>
                <a:ext uri="{FF2B5EF4-FFF2-40B4-BE49-F238E27FC236}">
                  <a16:creationId xmlns:a16="http://schemas.microsoft.com/office/drawing/2014/main" id="{C1CC2CBC-DA72-4D3E-8C35-94F59F06D18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43803" y="3691087"/>
              <a:ext cx="442833" cy="442833"/>
            </a:xfrm>
            <a:prstGeom prst="rect">
              <a:avLst/>
            </a:prstGeom>
          </p:spPr>
        </p:pic>
        <p:sp>
          <p:nvSpPr>
            <p:cNvPr id="22" name="TextBox 21">
              <a:extLst>
                <a:ext uri="{FF2B5EF4-FFF2-40B4-BE49-F238E27FC236}">
                  <a16:creationId xmlns:a16="http://schemas.microsoft.com/office/drawing/2014/main" id="{B5583B19-6916-41E4-9DD6-388A7E0F0D3D}"/>
                </a:ext>
              </a:extLst>
            </p:cNvPr>
            <p:cNvSpPr txBox="1"/>
            <p:nvPr/>
          </p:nvSpPr>
          <p:spPr>
            <a:xfrm>
              <a:off x="793649" y="3704754"/>
              <a:ext cx="3060000" cy="415498"/>
            </a:xfrm>
            <a:prstGeom prst="rect">
              <a:avLst/>
            </a:prstGeom>
            <a:noFill/>
          </p:spPr>
          <p:txBody>
            <a:bodyPr wrap="square" lIns="36000" tIns="0" rIns="36000" bIns="0" rtlCol="0">
              <a:spAutoFit/>
            </a:bodyPr>
            <a:lstStyle/>
            <a:p>
              <a:pPr algn="l"/>
              <a:r>
                <a:rPr lang="en-AU" sz="1800" b="1" dirty="0">
                  <a:solidFill>
                    <a:srgbClr val="2167AE"/>
                  </a:solidFill>
                </a:rPr>
                <a:t>Customer Experience </a:t>
              </a:r>
              <a:r>
                <a:rPr lang="en-AU" sz="900" dirty="0">
                  <a:solidFill>
                    <a:srgbClr val="2167AE"/>
                  </a:solidFill>
                </a:rPr>
                <a:t>focussed business requirements.</a:t>
              </a:r>
              <a:endParaRPr lang="en-AU" sz="1800" dirty="0">
                <a:solidFill>
                  <a:srgbClr val="2167AE"/>
                </a:solidFill>
              </a:endParaRPr>
            </a:p>
          </p:txBody>
        </p:sp>
      </p:grpSp>
      <p:grpSp>
        <p:nvGrpSpPr>
          <p:cNvPr id="189" name="Group 188">
            <a:extLst>
              <a:ext uri="{FF2B5EF4-FFF2-40B4-BE49-F238E27FC236}">
                <a16:creationId xmlns:a16="http://schemas.microsoft.com/office/drawing/2014/main" id="{B173043F-2009-4556-BAAF-F8DB7712FCF1}"/>
              </a:ext>
            </a:extLst>
          </p:cNvPr>
          <p:cNvGrpSpPr/>
          <p:nvPr/>
        </p:nvGrpSpPr>
        <p:grpSpPr>
          <a:xfrm>
            <a:off x="4942669" y="2015639"/>
            <a:ext cx="3543919" cy="492443"/>
            <a:chOff x="4942669" y="1722033"/>
            <a:chExt cx="3543919" cy="492443"/>
          </a:xfrm>
        </p:grpSpPr>
        <p:sp>
          <p:nvSpPr>
            <p:cNvPr id="171" name="TextBox 170">
              <a:extLst>
                <a:ext uri="{FF2B5EF4-FFF2-40B4-BE49-F238E27FC236}">
                  <a16:creationId xmlns:a16="http://schemas.microsoft.com/office/drawing/2014/main" id="{DC1AA892-E330-4772-AE06-A87468AA4100}"/>
                </a:ext>
              </a:extLst>
            </p:cNvPr>
            <p:cNvSpPr txBox="1"/>
            <p:nvPr/>
          </p:nvSpPr>
          <p:spPr>
            <a:xfrm>
              <a:off x="5426588" y="1722033"/>
              <a:ext cx="3060000" cy="492443"/>
            </a:xfrm>
            <a:prstGeom prst="rect">
              <a:avLst/>
            </a:prstGeom>
            <a:noFill/>
          </p:spPr>
          <p:txBody>
            <a:bodyPr wrap="square" lIns="36000" tIns="0" rIns="36000" bIns="0" rtlCol="0">
              <a:spAutoFit/>
            </a:bodyPr>
            <a:lstStyle/>
            <a:p>
              <a:pPr algn="l"/>
              <a:r>
                <a:rPr lang="en-AU" sz="1600" b="1" dirty="0">
                  <a:solidFill>
                    <a:srgbClr val="2167AE"/>
                  </a:solidFill>
                </a:rPr>
                <a:t>E2E latest technologies </a:t>
              </a:r>
              <a:r>
                <a:rPr lang="en-AU" sz="800" dirty="0">
                  <a:solidFill>
                    <a:srgbClr val="2167AE"/>
                  </a:solidFill>
                </a:rPr>
                <a:t>Single Page Applications (ReactJS), Cloud, APIs (REST/</a:t>
              </a:r>
              <a:r>
                <a:rPr lang="en-AU" sz="800" dirty="0" err="1">
                  <a:solidFill>
                    <a:srgbClr val="2167AE"/>
                  </a:solidFill>
                </a:rPr>
                <a:t>Json</a:t>
              </a:r>
              <a:r>
                <a:rPr lang="en-AU" sz="800" dirty="0">
                  <a:solidFill>
                    <a:srgbClr val="2167AE"/>
                  </a:solidFill>
                </a:rPr>
                <a:t>), SDKs, Data Analytics, AI, No legacy. </a:t>
              </a:r>
            </a:p>
          </p:txBody>
        </p:sp>
        <p:pic>
          <p:nvPicPr>
            <p:cNvPr id="172" name="Graphic 171" descr="Server with solid fill">
              <a:extLst>
                <a:ext uri="{FF2B5EF4-FFF2-40B4-BE49-F238E27FC236}">
                  <a16:creationId xmlns:a16="http://schemas.microsoft.com/office/drawing/2014/main" id="{99C74AEC-5258-465A-8377-F804717F31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42669" y="1783588"/>
              <a:ext cx="369332" cy="369332"/>
            </a:xfrm>
            <a:prstGeom prst="rect">
              <a:avLst/>
            </a:prstGeom>
          </p:spPr>
        </p:pic>
      </p:grpSp>
      <p:sp>
        <p:nvSpPr>
          <p:cNvPr id="173" name="TextBox 172">
            <a:extLst>
              <a:ext uri="{FF2B5EF4-FFF2-40B4-BE49-F238E27FC236}">
                <a16:creationId xmlns:a16="http://schemas.microsoft.com/office/drawing/2014/main" id="{C5324F52-0707-4C74-88D5-01C4562A4A66}"/>
              </a:ext>
            </a:extLst>
          </p:cNvPr>
          <p:cNvSpPr txBox="1"/>
          <p:nvPr/>
        </p:nvSpPr>
        <p:spPr>
          <a:xfrm>
            <a:off x="266663" y="634011"/>
            <a:ext cx="8551204" cy="1349087"/>
          </a:xfrm>
          <a:prstGeom prst="rect">
            <a:avLst/>
          </a:prstGeom>
          <a:noFill/>
        </p:spPr>
        <p:txBody>
          <a:bodyPr wrap="square" lIns="36000" tIns="0" rIns="36000" bIns="0" rtlCol="0">
            <a:spAutoFit/>
          </a:bodyPr>
          <a:lstStyle/>
          <a:p>
            <a:pPr>
              <a:spcAft>
                <a:spcPts val="400"/>
              </a:spcAft>
            </a:pPr>
            <a:r>
              <a:rPr lang="en-AU" sz="900" dirty="0">
                <a:solidFill>
                  <a:srgbClr val="2167AE"/>
                </a:solidFill>
                <a:effectLst/>
                <a:ea typeface="Yu Mincho" panose="02020400000000000000" pitchFamily="18" charset="-128"/>
                <a:cs typeface="Times New Roman" panose="02020603050405020304" pitchFamily="18" charset="0"/>
              </a:rPr>
              <a:t>Zurich is a leading multi-line insurer that serves its customers in global and local markets. With about 56,000 employees, it provides a wide range of property and casualty, life insurance products and services in more than 210 countries and territories. Zurich has a strong and growing presence in Asia across eight countries with over 7000 employees and more than 400 internal technology resources</a:t>
            </a:r>
          </a:p>
          <a:p>
            <a:pPr>
              <a:spcAft>
                <a:spcPts val="400"/>
              </a:spcAft>
            </a:pPr>
            <a:r>
              <a:rPr lang="en-AU" sz="900" dirty="0">
                <a:solidFill>
                  <a:srgbClr val="2167AE"/>
                </a:solidFill>
                <a:effectLst/>
                <a:ea typeface="Yu Mincho" panose="02020400000000000000" pitchFamily="18" charset="-128"/>
                <a:cs typeface="Times New Roman" panose="02020603050405020304" pitchFamily="18" charset="0"/>
              </a:rPr>
              <a:t>Zurich is strategically committed to digital business models and starting a Digital Partnerships business in Asia. The Digital Partnerships business aims to embed “easy to understand” and “simple insurance products into the online customer journeys of distribution partners (for example eCommerce, travel, ride sharing and other similar web / mobile app). </a:t>
            </a:r>
          </a:p>
          <a:p>
            <a:pPr>
              <a:spcAft>
                <a:spcPts val="400"/>
              </a:spcAft>
            </a:pPr>
            <a:r>
              <a:rPr lang="en-AU" sz="900" dirty="0">
                <a:solidFill>
                  <a:srgbClr val="2167AE"/>
                </a:solidFill>
                <a:effectLst/>
                <a:ea typeface="Yu Mincho" panose="02020400000000000000" pitchFamily="18" charset="-128"/>
                <a:cs typeface="Times New Roman" panose="02020603050405020304" pitchFamily="18" charset="0"/>
              </a:rPr>
              <a:t>Zurich proposes to build a new end-to-end </a:t>
            </a:r>
            <a:r>
              <a:rPr lang="en-AU" sz="900">
                <a:solidFill>
                  <a:srgbClr val="2167AE"/>
                </a:solidFill>
                <a:effectLst/>
                <a:ea typeface="Yu Mincho" panose="02020400000000000000" pitchFamily="18" charset="-128"/>
                <a:cs typeface="Times New Roman" panose="02020603050405020304" pitchFamily="18" charset="0"/>
              </a:rPr>
              <a:t>Digital Native </a:t>
            </a:r>
            <a:r>
              <a:rPr lang="en-AU" sz="900" dirty="0">
                <a:solidFill>
                  <a:srgbClr val="2167AE"/>
                </a:solidFill>
                <a:effectLst/>
                <a:ea typeface="Yu Mincho" panose="02020400000000000000" pitchFamily="18" charset="-128"/>
                <a:cs typeface="Times New Roman" panose="02020603050405020304" pitchFamily="18" charset="0"/>
              </a:rPr>
              <a:t>Insurance Platform to enable new distribution models and over time, extend its use to more distribution channels. Insurance offerings on this platform will be specifically designed for high levels of automation and straight through processing across the full insurance value chain</a:t>
            </a:r>
          </a:p>
        </p:txBody>
      </p:sp>
      <p:grpSp>
        <p:nvGrpSpPr>
          <p:cNvPr id="180" name="Group 179">
            <a:extLst>
              <a:ext uri="{FF2B5EF4-FFF2-40B4-BE49-F238E27FC236}">
                <a16:creationId xmlns:a16="http://schemas.microsoft.com/office/drawing/2014/main" id="{2323BB50-C1B7-4E36-B870-10E6EE951FC8}"/>
              </a:ext>
            </a:extLst>
          </p:cNvPr>
          <p:cNvGrpSpPr/>
          <p:nvPr/>
        </p:nvGrpSpPr>
        <p:grpSpPr>
          <a:xfrm>
            <a:off x="237892" y="2019688"/>
            <a:ext cx="3615757" cy="692497"/>
            <a:chOff x="237892" y="1662855"/>
            <a:chExt cx="3615757" cy="692497"/>
          </a:xfrm>
        </p:grpSpPr>
        <p:grpSp>
          <p:nvGrpSpPr>
            <p:cNvPr id="25" name="Group 24">
              <a:extLst>
                <a:ext uri="{FF2B5EF4-FFF2-40B4-BE49-F238E27FC236}">
                  <a16:creationId xmlns:a16="http://schemas.microsoft.com/office/drawing/2014/main" id="{872080DB-0ECA-4F8D-821C-5B99CE7636B4}"/>
                </a:ext>
              </a:extLst>
            </p:cNvPr>
            <p:cNvGrpSpPr/>
            <p:nvPr/>
          </p:nvGrpSpPr>
          <p:grpSpPr>
            <a:xfrm>
              <a:off x="237892" y="1725158"/>
              <a:ext cx="454655" cy="493550"/>
              <a:chOff x="685845" y="1112440"/>
              <a:chExt cx="3519055" cy="3835859"/>
            </a:xfrm>
          </p:grpSpPr>
          <p:sp>
            <p:nvSpPr>
              <p:cNvPr id="26" name="Freeform 4">
                <a:extLst>
                  <a:ext uri="{FF2B5EF4-FFF2-40B4-BE49-F238E27FC236}">
                    <a16:creationId xmlns:a16="http://schemas.microsoft.com/office/drawing/2014/main" id="{9FB59449-FC6B-4A6B-AD78-8D45C4418347}"/>
                  </a:ext>
                </a:extLst>
              </p:cNvPr>
              <p:cNvSpPr>
                <a:spLocks/>
              </p:cNvSpPr>
              <p:nvPr/>
            </p:nvSpPr>
            <p:spPr bwMode="auto">
              <a:xfrm>
                <a:off x="1729633" y="2288560"/>
                <a:ext cx="101894" cy="44629"/>
              </a:xfrm>
              <a:custGeom>
                <a:avLst/>
                <a:gdLst>
                  <a:gd name="T0" fmla="*/ 57669 w 41"/>
                  <a:gd name="T1" fmla="*/ 0 h 17"/>
                  <a:gd name="T2" fmla="*/ 57669 w 41"/>
                  <a:gd name="T3" fmla="*/ 0 h 17"/>
                  <a:gd name="T4" fmla="*/ 14417 w 41"/>
                  <a:gd name="T5" fmla="*/ 0 h 17"/>
                  <a:gd name="T6" fmla="*/ 0 w 41"/>
                  <a:gd name="T7" fmla="*/ 14411 h 17"/>
                  <a:gd name="T8" fmla="*/ 0 w 41"/>
                  <a:gd name="T9" fmla="*/ 28822 h 17"/>
                  <a:gd name="T10" fmla="*/ 57669 w 41"/>
                  <a:gd name="T11" fmla="*/ 28822 h 17"/>
                  <a:gd name="T12" fmla="*/ 72087 w 41"/>
                  <a:gd name="T13" fmla="*/ 28822 h 17"/>
                  <a:gd name="T14" fmla="*/ 57669 w 4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32" y="0"/>
                    </a:moveTo>
                    <a:lnTo>
                      <a:pt x="32" y="0"/>
                    </a:lnTo>
                    <a:lnTo>
                      <a:pt x="8" y="0"/>
                    </a:lnTo>
                    <a:lnTo>
                      <a:pt x="0" y="8"/>
                    </a:lnTo>
                    <a:lnTo>
                      <a:pt x="0" y="16"/>
                    </a:lnTo>
                    <a:lnTo>
                      <a:pt x="32" y="16"/>
                    </a:lnTo>
                    <a:lnTo>
                      <a:pt x="40" y="16"/>
                    </a:lnTo>
                    <a:lnTo>
                      <a:pt x="32"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27" name="Freeform 5">
                <a:extLst>
                  <a:ext uri="{FF2B5EF4-FFF2-40B4-BE49-F238E27FC236}">
                    <a16:creationId xmlns:a16="http://schemas.microsoft.com/office/drawing/2014/main" id="{FB2B2468-FE97-4820-9B83-C6E4346A439C}"/>
                  </a:ext>
                </a:extLst>
              </p:cNvPr>
              <p:cNvSpPr>
                <a:spLocks/>
              </p:cNvSpPr>
              <p:nvPr/>
            </p:nvSpPr>
            <p:spPr bwMode="auto">
              <a:xfrm>
                <a:off x="1729633" y="2288560"/>
                <a:ext cx="101894" cy="44629"/>
              </a:xfrm>
              <a:custGeom>
                <a:avLst/>
                <a:gdLst>
                  <a:gd name="T0" fmla="*/ 57669 w 41"/>
                  <a:gd name="T1" fmla="*/ 0 h 17"/>
                  <a:gd name="T2" fmla="*/ 14417 w 41"/>
                  <a:gd name="T3" fmla="*/ 0 h 17"/>
                  <a:gd name="T4" fmla="*/ 0 w 41"/>
                  <a:gd name="T5" fmla="*/ 14411 h 17"/>
                  <a:gd name="T6" fmla="*/ 0 w 41"/>
                  <a:gd name="T7" fmla="*/ 28822 h 17"/>
                  <a:gd name="T8" fmla="*/ 57669 w 41"/>
                  <a:gd name="T9" fmla="*/ 28822 h 17"/>
                  <a:gd name="T10" fmla="*/ 72087 w 41"/>
                  <a:gd name="T11" fmla="*/ 28822 h 17"/>
                  <a:gd name="T12" fmla="*/ 57669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2" y="0"/>
                    </a:moveTo>
                    <a:lnTo>
                      <a:pt x="8" y="0"/>
                    </a:lnTo>
                    <a:lnTo>
                      <a:pt x="0" y="8"/>
                    </a:lnTo>
                    <a:lnTo>
                      <a:pt x="0" y="16"/>
                    </a:lnTo>
                    <a:lnTo>
                      <a:pt x="32" y="16"/>
                    </a:lnTo>
                    <a:lnTo>
                      <a:pt x="40" y="16"/>
                    </a:lnTo>
                    <a:lnTo>
                      <a:pt x="32"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28" name="Freeform 6">
                <a:extLst>
                  <a:ext uri="{FF2B5EF4-FFF2-40B4-BE49-F238E27FC236}">
                    <a16:creationId xmlns:a16="http://schemas.microsoft.com/office/drawing/2014/main" id="{F576C08E-BE54-49F3-BE3F-29EC364596C3}"/>
                  </a:ext>
                </a:extLst>
              </p:cNvPr>
              <p:cNvSpPr>
                <a:spLocks/>
              </p:cNvSpPr>
              <p:nvPr/>
            </p:nvSpPr>
            <p:spPr bwMode="auto">
              <a:xfrm>
                <a:off x="1252472" y="1154445"/>
                <a:ext cx="1911125" cy="1409772"/>
              </a:xfrm>
              <a:custGeom>
                <a:avLst/>
                <a:gdLst>
                  <a:gd name="T0" fmla="*/ 317183 w 769"/>
                  <a:gd name="T1" fmla="*/ 158520 h 537"/>
                  <a:gd name="T2" fmla="*/ 389270 w 769"/>
                  <a:gd name="T3" fmla="*/ 230574 h 537"/>
                  <a:gd name="T4" fmla="*/ 519027 w 769"/>
                  <a:gd name="T5" fmla="*/ 360273 h 537"/>
                  <a:gd name="T6" fmla="*/ 706454 w 769"/>
                  <a:gd name="T7" fmla="*/ 403505 h 537"/>
                  <a:gd name="T8" fmla="*/ 865045 w 769"/>
                  <a:gd name="T9" fmla="*/ 331451 h 537"/>
                  <a:gd name="T10" fmla="*/ 908298 w 769"/>
                  <a:gd name="T11" fmla="*/ 302629 h 537"/>
                  <a:gd name="T12" fmla="*/ 1038055 w 769"/>
                  <a:gd name="T13" fmla="*/ 244985 h 537"/>
                  <a:gd name="T14" fmla="*/ 980385 w 769"/>
                  <a:gd name="T15" fmla="*/ 216164 h 537"/>
                  <a:gd name="T16" fmla="*/ 965968 w 769"/>
                  <a:gd name="T17" fmla="*/ 129698 h 537"/>
                  <a:gd name="T18" fmla="*/ 1052472 w 769"/>
                  <a:gd name="T19" fmla="*/ 72055 h 537"/>
                  <a:gd name="T20" fmla="*/ 1052472 w 769"/>
                  <a:gd name="T21" fmla="*/ 43233 h 537"/>
                  <a:gd name="T22" fmla="*/ 1167812 w 769"/>
                  <a:gd name="T23" fmla="*/ 14411 h 537"/>
                  <a:gd name="T24" fmla="*/ 1254316 w 769"/>
                  <a:gd name="T25" fmla="*/ 144109 h 537"/>
                  <a:gd name="T26" fmla="*/ 1326403 w 769"/>
                  <a:gd name="T27" fmla="*/ 201753 h 537"/>
                  <a:gd name="T28" fmla="*/ 1340821 w 769"/>
                  <a:gd name="T29" fmla="*/ 302629 h 537"/>
                  <a:gd name="T30" fmla="*/ 1311986 w 769"/>
                  <a:gd name="T31" fmla="*/ 345862 h 537"/>
                  <a:gd name="T32" fmla="*/ 1254316 w 769"/>
                  <a:gd name="T33" fmla="*/ 389094 h 537"/>
                  <a:gd name="T34" fmla="*/ 1211064 w 769"/>
                  <a:gd name="T35" fmla="*/ 403505 h 537"/>
                  <a:gd name="T36" fmla="*/ 1124559 w 769"/>
                  <a:gd name="T37" fmla="*/ 461149 h 537"/>
                  <a:gd name="T38" fmla="*/ 1081307 w 769"/>
                  <a:gd name="T39" fmla="*/ 461149 h 537"/>
                  <a:gd name="T40" fmla="*/ 1038055 w 769"/>
                  <a:gd name="T41" fmla="*/ 461149 h 537"/>
                  <a:gd name="T42" fmla="*/ 994802 w 769"/>
                  <a:gd name="T43" fmla="*/ 489971 h 537"/>
                  <a:gd name="T44" fmla="*/ 1110142 w 769"/>
                  <a:gd name="T45" fmla="*/ 533203 h 537"/>
                  <a:gd name="T46" fmla="*/ 1066890 w 769"/>
                  <a:gd name="T47" fmla="*/ 547614 h 537"/>
                  <a:gd name="T48" fmla="*/ 1066890 w 769"/>
                  <a:gd name="T49" fmla="*/ 662902 h 537"/>
                  <a:gd name="T50" fmla="*/ 1095724 w 769"/>
                  <a:gd name="T51" fmla="*/ 706134 h 537"/>
                  <a:gd name="T52" fmla="*/ 1081307 w 769"/>
                  <a:gd name="T53" fmla="*/ 778189 h 537"/>
                  <a:gd name="T54" fmla="*/ 1038055 w 769"/>
                  <a:gd name="T55" fmla="*/ 835832 h 537"/>
                  <a:gd name="T56" fmla="*/ 1009220 w 769"/>
                  <a:gd name="T57" fmla="*/ 879065 h 537"/>
                  <a:gd name="T58" fmla="*/ 922715 w 769"/>
                  <a:gd name="T59" fmla="*/ 922298 h 537"/>
                  <a:gd name="T60" fmla="*/ 893880 w 769"/>
                  <a:gd name="T61" fmla="*/ 922298 h 537"/>
                  <a:gd name="T62" fmla="*/ 821793 w 769"/>
                  <a:gd name="T63" fmla="*/ 936709 h 537"/>
                  <a:gd name="T64" fmla="*/ 749706 w 769"/>
                  <a:gd name="T65" fmla="*/ 936709 h 537"/>
                  <a:gd name="T66" fmla="*/ 663202 w 769"/>
                  <a:gd name="T67" fmla="*/ 922298 h 537"/>
                  <a:gd name="T68" fmla="*/ 634367 w 769"/>
                  <a:gd name="T69" fmla="*/ 922298 h 537"/>
                  <a:gd name="T70" fmla="*/ 619949 w 769"/>
                  <a:gd name="T71" fmla="*/ 936709 h 537"/>
                  <a:gd name="T72" fmla="*/ 576697 w 769"/>
                  <a:gd name="T73" fmla="*/ 907887 h 537"/>
                  <a:gd name="T74" fmla="*/ 547862 w 769"/>
                  <a:gd name="T75" fmla="*/ 879065 h 537"/>
                  <a:gd name="T76" fmla="*/ 533445 w 769"/>
                  <a:gd name="T77" fmla="*/ 778189 h 537"/>
                  <a:gd name="T78" fmla="*/ 403688 w 769"/>
                  <a:gd name="T79" fmla="*/ 778189 h 537"/>
                  <a:gd name="T80" fmla="*/ 331601 w 769"/>
                  <a:gd name="T81" fmla="*/ 778189 h 537"/>
                  <a:gd name="T82" fmla="*/ 245096 w 769"/>
                  <a:gd name="T83" fmla="*/ 763778 h 537"/>
                  <a:gd name="T84" fmla="*/ 187427 w 769"/>
                  <a:gd name="T85" fmla="*/ 720545 h 537"/>
                  <a:gd name="T86" fmla="*/ 100922 w 769"/>
                  <a:gd name="T87" fmla="*/ 662902 h 537"/>
                  <a:gd name="T88" fmla="*/ 144174 w 769"/>
                  <a:gd name="T89" fmla="*/ 605258 h 537"/>
                  <a:gd name="T90" fmla="*/ 86505 w 769"/>
                  <a:gd name="T91" fmla="*/ 576436 h 537"/>
                  <a:gd name="T92" fmla="*/ 14417 w 769"/>
                  <a:gd name="T93" fmla="*/ 533203 h 537"/>
                  <a:gd name="T94" fmla="*/ 0 w 769"/>
                  <a:gd name="T95" fmla="*/ 489971 h 537"/>
                  <a:gd name="T96" fmla="*/ 57670 w 769"/>
                  <a:gd name="T97" fmla="*/ 432327 h 537"/>
                  <a:gd name="T98" fmla="*/ 144174 w 769"/>
                  <a:gd name="T99" fmla="*/ 389094 h 537"/>
                  <a:gd name="T100" fmla="*/ 144174 w 769"/>
                  <a:gd name="T101" fmla="*/ 288218 h 537"/>
                  <a:gd name="T102" fmla="*/ 245096 w 769"/>
                  <a:gd name="T103" fmla="*/ 230574 h 537"/>
                  <a:gd name="T104" fmla="*/ 288349 w 769"/>
                  <a:gd name="T105" fmla="*/ 172931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9"/>
                  <a:gd name="T160" fmla="*/ 0 h 537"/>
                  <a:gd name="T161" fmla="*/ 769 w 769"/>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9" h="537">
                    <a:moveTo>
                      <a:pt x="160" y="96"/>
                    </a:moveTo>
                    <a:lnTo>
                      <a:pt x="160" y="96"/>
                    </a:lnTo>
                    <a:lnTo>
                      <a:pt x="176" y="88"/>
                    </a:lnTo>
                    <a:lnTo>
                      <a:pt x="192" y="112"/>
                    </a:lnTo>
                    <a:lnTo>
                      <a:pt x="208" y="112"/>
                    </a:lnTo>
                    <a:lnTo>
                      <a:pt x="216" y="128"/>
                    </a:lnTo>
                    <a:lnTo>
                      <a:pt x="216" y="160"/>
                    </a:lnTo>
                    <a:lnTo>
                      <a:pt x="264" y="176"/>
                    </a:lnTo>
                    <a:lnTo>
                      <a:pt x="288" y="200"/>
                    </a:lnTo>
                    <a:lnTo>
                      <a:pt x="336" y="200"/>
                    </a:lnTo>
                    <a:lnTo>
                      <a:pt x="360" y="216"/>
                    </a:lnTo>
                    <a:lnTo>
                      <a:pt x="392" y="224"/>
                    </a:lnTo>
                    <a:lnTo>
                      <a:pt x="424" y="208"/>
                    </a:lnTo>
                    <a:lnTo>
                      <a:pt x="456" y="208"/>
                    </a:lnTo>
                    <a:lnTo>
                      <a:pt x="480" y="184"/>
                    </a:lnTo>
                    <a:lnTo>
                      <a:pt x="472" y="176"/>
                    </a:lnTo>
                    <a:lnTo>
                      <a:pt x="488" y="160"/>
                    </a:lnTo>
                    <a:lnTo>
                      <a:pt x="504" y="168"/>
                    </a:lnTo>
                    <a:lnTo>
                      <a:pt x="528" y="152"/>
                    </a:lnTo>
                    <a:lnTo>
                      <a:pt x="544" y="136"/>
                    </a:lnTo>
                    <a:lnTo>
                      <a:pt x="576" y="136"/>
                    </a:lnTo>
                    <a:lnTo>
                      <a:pt x="568" y="120"/>
                    </a:lnTo>
                    <a:lnTo>
                      <a:pt x="560" y="112"/>
                    </a:lnTo>
                    <a:lnTo>
                      <a:pt x="544" y="120"/>
                    </a:lnTo>
                    <a:lnTo>
                      <a:pt x="528" y="120"/>
                    </a:lnTo>
                    <a:lnTo>
                      <a:pt x="528" y="88"/>
                    </a:lnTo>
                    <a:lnTo>
                      <a:pt x="536" y="72"/>
                    </a:lnTo>
                    <a:lnTo>
                      <a:pt x="552" y="80"/>
                    </a:lnTo>
                    <a:lnTo>
                      <a:pt x="576" y="72"/>
                    </a:lnTo>
                    <a:lnTo>
                      <a:pt x="584" y="40"/>
                    </a:lnTo>
                    <a:lnTo>
                      <a:pt x="592" y="32"/>
                    </a:lnTo>
                    <a:lnTo>
                      <a:pt x="592" y="24"/>
                    </a:lnTo>
                    <a:lnTo>
                      <a:pt x="584" y="24"/>
                    </a:lnTo>
                    <a:lnTo>
                      <a:pt x="592" y="8"/>
                    </a:lnTo>
                    <a:lnTo>
                      <a:pt x="624" y="0"/>
                    </a:lnTo>
                    <a:lnTo>
                      <a:pt x="648" y="8"/>
                    </a:lnTo>
                    <a:lnTo>
                      <a:pt x="664" y="24"/>
                    </a:lnTo>
                    <a:lnTo>
                      <a:pt x="680" y="80"/>
                    </a:lnTo>
                    <a:lnTo>
                      <a:pt x="696" y="80"/>
                    </a:lnTo>
                    <a:lnTo>
                      <a:pt x="720" y="96"/>
                    </a:lnTo>
                    <a:lnTo>
                      <a:pt x="720" y="112"/>
                    </a:lnTo>
                    <a:lnTo>
                      <a:pt x="736" y="112"/>
                    </a:lnTo>
                    <a:lnTo>
                      <a:pt x="768" y="104"/>
                    </a:lnTo>
                    <a:lnTo>
                      <a:pt x="768" y="120"/>
                    </a:lnTo>
                    <a:lnTo>
                      <a:pt x="744" y="168"/>
                    </a:lnTo>
                    <a:lnTo>
                      <a:pt x="736" y="160"/>
                    </a:lnTo>
                    <a:lnTo>
                      <a:pt x="720" y="168"/>
                    </a:lnTo>
                    <a:lnTo>
                      <a:pt x="728" y="192"/>
                    </a:lnTo>
                    <a:lnTo>
                      <a:pt x="720" y="208"/>
                    </a:lnTo>
                    <a:lnTo>
                      <a:pt x="712" y="208"/>
                    </a:lnTo>
                    <a:lnTo>
                      <a:pt x="696" y="216"/>
                    </a:lnTo>
                    <a:lnTo>
                      <a:pt x="688" y="216"/>
                    </a:lnTo>
                    <a:lnTo>
                      <a:pt x="680" y="224"/>
                    </a:lnTo>
                    <a:lnTo>
                      <a:pt x="672" y="224"/>
                    </a:lnTo>
                    <a:lnTo>
                      <a:pt x="640" y="248"/>
                    </a:lnTo>
                    <a:lnTo>
                      <a:pt x="640" y="256"/>
                    </a:lnTo>
                    <a:lnTo>
                      <a:pt x="624" y="256"/>
                    </a:lnTo>
                    <a:lnTo>
                      <a:pt x="600" y="272"/>
                    </a:lnTo>
                    <a:lnTo>
                      <a:pt x="600" y="264"/>
                    </a:lnTo>
                    <a:lnTo>
                      <a:pt x="600" y="256"/>
                    </a:lnTo>
                    <a:lnTo>
                      <a:pt x="608" y="240"/>
                    </a:lnTo>
                    <a:lnTo>
                      <a:pt x="600" y="232"/>
                    </a:lnTo>
                    <a:lnTo>
                      <a:pt x="576" y="256"/>
                    </a:lnTo>
                    <a:lnTo>
                      <a:pt x="568" y="264"/>
                    </a:lnTo>
                    <a:lnTo>
                      <a:pt x="560" y="264"/>
                    </a:lnTo>
                    <a:lnTo>
                      <a:pt x="552" y="272"/>
                    </a:lnTo>
                    <a:lnTo>
                      <a:pt x="576" y="296"/>
                    </a:lnTo>
                    <a:lnTo>
                      <a:pt x="592" y="288"/>
                    </a:lnTo>
                    <a:lnTo>
                      <a:pt x="616" y="296"/>
                    </a:lnTo>
                    <a:lnTo>
                      <a:pt x="616" y="304"/>
                    </a:lnTo>
                    <a:lnTo>
                      <a:pt x="608" y="296"/>
                    </a:lnTo>
                    <a:lnTo>
                      <a:pt x="592" y="304"/>
                    </a:lnTo>
                    <a:lnTo>
                      <a:pt x="576" y="328"/>
                    </a:lnTo>
                    <a:lnTo>
                      <a:pt x="584" y="336"/>
                    </a:lnTo>
                    <a:lnTo>
                      <a:pt x="592" y="368"/>
                    </a:lnTo>
                    <a:lnTo>
                      <a:pt x="608" y="376"/>
                    </a:lnTo>
                    <a:lnTo>
                      <a:pt x="600" y="376"/>
                    </a:lnTo>
                    <a:lnTo>
                      <a:pt x="608" y="392"/>
                    </a:lnTo>
                    <a:lnTo>
                      <a:pt x="584" y="400"/>
                    </a:lnTo>
                    <a:lnTo>
                      <a:pt x="608" y="400"/>
                    </a:lnTo>
                    <a:lnTo>
                      <a:pt x="600" y="432"/>
                    </a:lnTo>
                    <a:lnTo>
                      <a:pt x="584" y="448"/>
                    </a:lnTo>
                    <a:lnTo>
                      <a:pt x="576" y="448"/>
                    </a:lnTo>
                    <a:lnTo>
                      <a:pt x="576" y="464"/>
                    </a:lnTo>
                    <a:lnTo>
                      <a:pt x="568" y="480"/>
                    </a:lnTo>
                    <a:lnTo>
                      <a:pt x="560" y="480"/>
                    </a:lnTo>
                    <a:lnTo>
                      <a:pt x="560" y="488"/>
                    </a:lnTo>
                    <a:lnTo>
                      <a:pt x="536" y="504"/>
                    </a:lnTo>
                    <a:lnTo>
                      <a:pt x="512" y="504"/>
                    </a:lnTo>
                    <a:lnTo>
                      <a:pt x="512" y="512"/>
                    </a:lnTo>
                    <a:lnTo>
                      <a:pt x="504" y="504"/>
                    </a:lnTo>
                    <a:lnTo>
                      <a:pt x="504" y="512"/>
                    </a:lnTo>
                    <a:lnTo>
                      <a:pt x="496" y="512"/>
                    </a:lnTo>
                    <a:lnTo>
                      <a:pt x="464" y="528"/>
                    </a:lnTo>
                    <a:lnTo>
                      <a:pt x="456" y="536"/>
                    </a:lnTo>
                    <a:lnTo>
                      <a:pt x="456" y="520"/>
                    </a:lnTo>
                    <a:lnTo>
                      <a:pt x="440" y="520"/>
                    </a:lnTo>
                    <a:lnTo>
                      <a:pt x="432" y="520"/>
                    </a:lnTo>
                    <a:lnTo>
                      <a:pt x="416" y="520"/>
                    </a:lnTo>
                    <a:lnTo>
                      <a:pt x="416" y="504"/>
                    </a:lnTo>
                    <a:lnTo>
                      <a:pt x="400" y="504"/>
                    </a:lnTo>
                    <a:lnTo>
                      <a:pt x="368" y="512"/>
                    </a:lnTo>
                    <a:lnTo>
                      <a:pt x="360" y="504"/>
                    </a:lnTo>
                    <a:lnTo>
                      <a:pt x="360" y="512"/>
                    </a:lnTo>
                    <a:lnTo>
                      <a:pt x="352" y="512"/>
                    </a:lnTo>
                    <a:lnTo>
                      <a:pt x="352" y="528"/>
                    </a:lnTo>
                    <a:lnTo>
                      <a:pt x="344" y="528"/>
                    </a:lnTo>
                    <a:lnTo>
                      <a:pt x="344" y="520"/>
                    </a:lnTo>
                    <a:lnTo>
                      <a:pt x="336" y="520"/>
                    </a:lnTo>
                    <a:lnTo>
                      <a:pt x="320" y="512"/>
                    </a:lnTo>
                    <a:lnTo>
                      <a:pt x="320" y="504"/>
                    </a:lnTo>
                    <a:lnTo>
                      <a:pt x="320" y="496"/>
                    </a:lnTo>
                    <a:lnTo>
                      <a:pt x="312" y="488"/>
                    </a:lnTo>
                    <a:lnTo>
                      <a:pt x="304" y="488"/>
                    </a:lnTo>
                    <a:lnTo>
                      <a:pt x="312" y="448"/>
                    </a:lnTo>
                    <a:lnTo>
                      <a:pt x="304" y="432"/>
                    </a:lnTo>
                    <a:lnTo>
                      <a:pt x="296" y="432"/>
                    </a:lnTo>
                    <a:lnTo>
                      <a:pt x="280" y="416"/>
                    </a:lnTo>
                    <a:lnTo>
                      <a:pt x="264" y="416"/>
                    </a:lnTo>
                    <a:lnTo>
                      <a:pt x="224" y="432"/>
                    </a:lnTo>
                    <a:lnTo>
                      <a:pt x="200" y="432"/>
                    </a:lnTo>
                    <a:lnTo>
                      <a:pt x="192" y="440"/>
                    </a:lnTo>
                    <a:lnTo>
                      <a:pt x="184" y="432"/>
                    </a:lnTo>
                    <a:lnTo>
                      <a:pt x="176" y="432"/>
                    </a:lnTo>
                    <a:lnTo>
                      <a:pt x="152" y="432"/>
                    </a:lnTo>
                    <a:lnTo>
                      <a:pt x="136" y="424"/>
                    </a:lnTo>
                    <a:lnTo>
                      <a:pt x="128" y="416"/>
                    </a:lnTo>
                    <a:lnTo>
                      <a:pt x="120" y="416"/>
                    </a:lnTo>
                    <a:lnTo>
                      <a:pt x="104" y="400"/>
                    </a:lnTo>
                    <a:lnTo>
                      <a:pt x="88" y="400"/>
                    </a:lnTo>
                    <a:lnTo>
                      <a:pt x="64" y="392"/>
                    </a:lnTo>
                    <a:lnTo>
                      <a:pt x="56" y="368"/>
                    </a:lnTo>
                    <a:lnTo>
                      <a:pt x="72" y="368"/>
                    </a:lnTo>
                    <a:lnTo>
                      <a:pt x="64" y="352"/>
                    </a:lnTo>
                    <a:lnTo>
                      <a:pt x="80" y="336"/>
                    </a:lnTo>
                    <a:lnTo>
                      <a:pt x="80" y="320"/>
                    </a:lnTo>
                    <a:lnTo>
                      <a:pt x="72" y="312"/>
                    </a:lnTo>
                    <a:lnTo>
                      <a:pt x="48" y="320"/>
                    </a:lnTo>
                    <a:lnTo>
                      <a:pt x="32" y="312"/>
                    </a:lnTo>
                    <a:lnTo>
                      <a:pt x="24" y="304"/>
                    </a:lnTo>
                    <a:lnTo>
                      <a:pt x="8" y="296"/>
                    </a:lnTo>
                    <a:lnTo>
                      <a:pt x="16" y="296"/>
                    </a:lnTo>
                    <a:lnTo>
                      <a:pt x="16" y="272"/>
                    </a:lnTo>
                    <a:lnTo>
                      <a:pt x="0" y="272"/>
                    </a:lnTo>
                    <a:lnTo>
                      <a:pt x="0" y="248"/>
                    </a:lnTo>
                    <a:lnTo>
                      <a:pt x="16" y="240"/>
                    </a:lnTo>
                    <a:lnTo>
                      <a:pt x="32" y="240"/>
                    </a:lnTo>
                    <a:lnTo>
                      <a:pt x="40" y="232"/>
                    </a:lnTo>
                    <a:lnTo>
                      <a:pt x="56" y="232"/>
                    </a:lnTo>
                    <a:lnTo>
                      <a:pt x="80" y="216"/>
                    </a:lnTo>
                    <a:lnTo>
                      <a:pt x="88" y="200"/>
                    </a:lnTo>
                    <a:lnTo>
                      <a:pt x="80" y="168"/>
                    </a:lnTo>
                    <a:lnTo>
                      <a:pt x="80" y="160"/>
                    </a:lnTo>
                    <a:lnTo>
                      <a:pt x="104" y="160"/>
                    </a:lnTo>
                    <a:lnTo>
                      <a:pt x="112" y="128"/>
                    </a:lnTo>
                    <a:lnTo>
                      <a:pt x="136" y="128"/>
                    </a:lnTo>
                    <a:lnTo>
                      <a:pt x="144" y="128"/>
                    </a:lnTo>
                    <a:lnTo>
                      <a:pt x="152" y="104"/>
                    </a:lnTo>
                    <a:lnTo>
                      <a:pt x="160" y="96"/>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29" name="Freeform 7">
                <a:extLst>
                  <a:ext uri="{FF2B5EF4-FFF2-40B4-BE49-F238E27FC236}">
                    <a16:creationId xmlns:a16="http://schemas.microsoft.com/office/drawing/2014/main" id="{11C66B8F-BC4F-4513-901A-30FDD2A5A382}"/>
                  </a:ext>
                </a:extLst>
              </p:cNvPr>
              <p:cNvSpPr>
                <a:spLocks/>
              </p:cNvSpPr>
              <p:nvPr/>
            </p:nvSpPr>
            <p:spPr bwMode="auto">
              <a:xfrm>
                <a:off x="1252472" y="1154445"/>
                <a:ext cx="1911125" cy="1409772"/>
              </a:xfrm>
              <a:custGeom>
                <a:avLst/>
                <a:gdLst>
                  <a:gd name="T0" fmla="*/ 346018 w 769"/>
                  <a:gd name="T1" fmla="*/ 201753 h 537"/>
                  <a:gd name="T2" fmla="*/ 389270 w 769"/>
                  <a:gd name="T3" fmla="*/ 288218 h 537"/>
                  <a:gd name="T4" fmla="*/ 605532 w 769"/>
                  <a:gd name="T5" fmla="*/ 360273 h 537"/>
                  <a:gd name="T6" fmla="*/ 764124 w 769"/>
                  <a:gd name="T7" fmla="*/ 374683 h 537"/>
                  <a:gd name="T8" fmla="*/ 850628 w 769"/>
                  <a:gd name="T9" fmla="*/ 317040 h 537"/>
                  <a:gd name="T10" fmla="*/ 951550 w 769"/>
                  <a:gd name="T11" fmla="*/ 273807 h 537"/>
                  <a:gd name="T12" fmla="*/ 1023637 w 769"/>
                  <a:gd name="T13" fmla="*/ 216164 h 537"/>
                  <a:gd name="T14" fmla="*/ 951550 w 769"/>
                  <a:gd name="T15" fmla="*/ 216164 h 537"/>
                  <a:gd name="T16" fmla="*/ 994802 w 769"/>
                  <a:gd name="T17" fmla="*/ 144109 h 537"/>
                  <a:gd name="T18" fmla="*/ 1066890 w 769"/>
                  <a:gd name="T19" fmla="*/ 57644 h 537"/>
                  <a:gd name="T20" fmla="*/ 1066890 w 769"/>
                  <a:gd name="T21" fmla="*/ 14411 h 537"/>
                  <a:gd name="T22" fmla="*/ 1196646 w 769"/>
                  <a:gd name="T23" fmla="*/ 43233 h 537"/>
                  <a:gd name="T24" fmla="*/ 1297568 w 769"/>
                  <a:gd name="T25" fmla="*/ 172931 h 537"/>
                  <a:gd name="T26" fmla="*/ 1384073 w 769"/>
                  <a:gd name="T27" fmla="*/ 187342 h 537"/>
                  <a:gd name="T28" fmla="*/ 1326403 w 769"/>
                  <a:gd name="T29" fmla="*/ 288218 h 537"/>
                  <a:gd name="T30" fmla="*/ 1297568 w 769"/>
                  <a:gd name="T31" fmla="*/ 374683 h 537"/>
                  <a:gd name="T32" fmla="*/ 1239899 w 769"/>
                  <a:gd name="T33" fmla="*/ 389094 h 537"/>
                  <a:gd name="T34" fmla="*/ 1153394 w 769"/>
                  <a:gd name="T35" fmla="*/ 446738 h 537"/>
                  <a:gd name="T36" fmla="*/ 1081307 w 769"/>
                  <a:gd name="T37" fmla="*/ 489971 h 537"/>
                  <a:gd name="T38" fmla="*/ 1095724 w 769"/>
                  <a:gd name="T39" fmla="*/ 432327 h 537"/>
                  <a:gd name="T40" fmla="*/ 1023637 w 769"/>
                  <a:gd name="T41" fmla="*/ 475560 h 537"/>
                  <a:gd name="T42" fmla="*/ 1038055 w 769"/>
                  <a:gd name="T43" fmla="*/ 533203 h 537"/>
                  <a:gd name="T44" fmla="*/ 1110142 w 769"/>
                  <a:gd name="T45" fmla="*/ 547614 h 537"/>
                  <a:gd name="T46" fmla="*/ 1038055 w 769"/>
                  <a:gd name="T47" fmla="*/ 590847 h 537"/>
                  <a:gd name="T48" fmla="*/ 1095724 w 769"/>
                  <a:gd name="T49" fmla="*/ 677312 h 537"/>
                  <a:gd name="T50" fmla="*/ 1052472 w 769"/>
                  <a:gd name="T51" fmla="*/ 720545 h 537"/>
                  <a:gd name="T52" fmla="*/ 1052472 w 769"/>
                  <a:gd name="T53" fmla="*/ 807011 h 537"/>
                  <a:gd name="T54" fmla="*/ 1023637 w 769"/>
                  <a:gd name="T55" fmla="*/ 864654 h 537"/>
                  <a:gd name="T56" fmla="*/ 965968 w 769"/>
                  <a:gd name="T57" fmla="*/ 907887 h 537"/>
                  <a:gd name="T58" fmla="*/ 908298 w 769"/>
                  <a:gd name="T59" fmla="*/ 907887 h 537"/>
                  <a:gd name="T60" fmla="*/ 836211 w 769"/>
                  <a:gd name="T61" fmla="*/ 951120 h 537"/>
                  <a:gd name="T62" fmla="*/ 792958 w 769"/>
                  <a:gd name="T63" fmla="*/ 936709 h 537"/>
                  <a:gd name="T64" fmla="*/ 749706 w 769"/>
                  <a:gd name="T65" fmla="*/ 907887 h 537"/>
                  <a:gd name="T66" fmla="*/ 648784 w 769"/>
                  <a:gd name="T67" fmla="*/ 907887 h 537"/>
                  <a:gd name="T68" fmla="*/ 634367 w 769"/>
                  <a:gd name="T69" fmla="*/ 951120 h 537"/>
                  <a:gd name="T70" fmla="*/ 605532 w 769"/>
                  <a:gd name="T71" fmla="*/ 936709 h 537"/>
                  <a:gd name="T72" fmla="*/ 576697 w 769"/>
                  <a:gd name="T73" fmla="*/ 893476 h 537"/>
                  <a:gd name="T74" fmla="*/ 562280 w 769"/>
                  <a:gd name="T75" fmla="*/ 807011 h 537"/>
                  <a:gd name="T76" fmla="*/ 504610 w 769"/>
                  <a:gd name="T77" fmla="*/ 749367 h 537"/>
                  <a:gd name="T78" fmla="*/ 360436 w 769"/>
                  <a:gd name="T79" fmla="*/ 778189 h 537"/>
                  <a:gd name="T80" fmla="*/ 317183 w 769"/>
                  <a:gd name="T81" fmla="*/ 778189 h 537"/>
                  <a:gd name="T82" fmla="*/ 230679 w 769"/>
                  <a:gd name="T83" fmla="*/ 749367 h 537"/>
                  <a:gd name="T84" fmla="*/ 158592 w 769"/>
                  <a:gd name="T85" fmla="*/ 720545 h 537"/>
                  <a:gd name="T86" fmla="*/ 129757 w 769"/>
                  <a:gd name="T87" fmla="*/ 662902 h 537"/>
                  <a:gd name="T88" fmla="*/ 144174 w 769"/>
                  <a:gd name="T89" fmla="*/ 576436 h 537"/>
                  <a:gd name="T90" fmla="*/ 57670 w 769"/>
                  <a:gd name="T91" fmla="*/ 562025 h 537"/>
                  <a:gd name="T92" fmla="*/ 28835 w 769"/>
                  <a:gd name="T93" fmla="*/ 533203 h 537"/>
                  <a:gd name="T94" fmla="*/ 0 w 769"/>
                  <a:gd name="T95" fmla="*/ 446738 h 537"/>
                  <a:gd name="T96" fmla="*/ 72087 w 769"/>
                  <a:gd name="T97" fmla="*/ 417916 h 537"/>
                  <a:gd name="T98" fmla="*/ 158592 w 769"/>
                  <a:gd name="T99" fmla="*/ 360273 h 537"/>
                  <a:gd name="T100" fmla="*/ 187427 w 769"/>
                  <a:gd name="T101" fmla="*/ 288218 h 537"/>
                  <a:gd name="T102" fmla="*/ 259514 w 769"/>
                  <a:gd name="T103" fmla="*/ 230574 h 5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9"/>
                  <a:gd name="T157" fmla="*/ 0 h 537"/>
                  <a:gd name="T158" fmla="*/ 769 w 769"/>
                  <a:gd name="T159" fmla="*/ 537 h 5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9" h="537">
                    <a:moveTo>
                      <a:pt x="160" y="96"/>
                    </a:moveTo>
                    <a:lnTo>
                      <a:pt x="176" y="88"/>
                    </a:lnTo>
                    <a:lnTo>
                      <a:pt x="192" y="112"/>
                    </a:lnTo>
                    <a:lnTo>
                      <a:pt x="208" y="112"/>
                    </a:lnTo>
                    <a:lnTo>
                      <a:pt x="216" y="128"/>
                    </a:lnTo>
                    <a:lnTo>
                      <a:pt x="216" y="160"/>
                    </a:lnTo>
                    <a:lnTo>
                      <a:pt x="264" y="176"/>
                    </a:lnTo>
                    <a:lnTo>
                      <a:pt x="288" y="200"/>
                    </a:lnTo>
                    <a:lnTo>
                      <a:pt x="336" y="200"/>
                    </a:lnTo>
                    <a:lnTo>
                      <a:pt x="360" y="216"/>
                    </a:lnTo>
                    <a:lnTo>
                      <a:pt x="392" y="224"/>
                    </a:lnTo>
                    <a:lnTo>
                      <a:pt x="424" y="208"/>
                    </a:lnTo>
                    <a:lnTo>
                      <a:pt x="456" y="208"/>
                    </a:lnTo>
                    <a:lnTo>
                      <a:pt x="480" y="184"/>
                    </a:lnTo>
                    <a:lnTo>
                      <a:pt x="472" y="176"/>
                    </a:lnTo>
                    <a:lnTo>
                      <a:pt x="488" y="160"/>
                    </a:lnTo>
                    <a:lnTo>
                      <a:pt x="504" y="168"/>
                    </a:lnTo>
                    <a:lnTo>
                      <a:pt x="528" y="152"/>
                    </a:lnTo>
                    <a:lnTo>
                      <a:pt x="544" y="136"/>
                    </a:lnTo>
                    <a:lnTo>
                      <a:pt x="576" y="136"/>
                    </a:lnTo>
                    <a:lnTo>
                      <a:pt x="568" y="120"/>
                    </a:lnTo>
                    <a:lnTo>
                      <a:pt x="560" y="112"/>
                    </a:lnTo>
                    <a:lnTo>
                      <a:pt x="544" y="120"/>
                    </a:lnTo>
                    <a:lnTo>
                      <a:pt x="528" y="120"/>
                    </a:lnTo>
                    <a:lnTo>
                      <a:pt x="528" y="88"/>
                    </a:lnTo>
                    <a:lnTo>
                      <a:pt x="536" y="72"/>
                    </a:lnTo>
                    <a:lnTo>
                      <a:pt x="552" y="80"/>
                    </a:lnTo>
                    <a:lnTo>
                      <a:pt x="576" y="72"/>
                    </a:lnTo>
                    <a:lnTo>
                      <a:pt x="584" y="40"/>
                    </a:lnTo>
                    <a:lnTo>
                      <a:pt x="592" y="32"/>
                    </a:lnTo>
                    <a:lnTo>
                      <a:pt x="592" y="24"/>
                    </a:lnTo>
                    <a:lnTo>
                      <a:pt x="584" y="24"/>
                    </a:lnTo>
                    <a:lnTo>
                      <a:pt x="592" y="8"/>
                    </a:lnTo>
                    <a:lnTo>
                      <a:pt x="624" y="0"/>
                    </a:lnTo>
                    <a:lnTo>
                      <a:pt x="648" y="8"/>
                    </a:lnTo>
                    <a:lnTo>
                      <a:pt x="664" y="24"/>
                    </a:lnTo>
                    <a:lnTo>
                      <a:pt x="680" y="80"/>
                    </a:lnTo>
                    <a:lnTo>
                      <a:pt x="696" y="80"/>
                    </a:lnTo>
                    <a:lnTo>
                      <a:pt x="720" y="96"/>
                    </a:lnTo>
                    <a:lnTo>
                      <a:pt x="720" y="112"/>
                    </a:lnTo>
                    <a:lnTo>
                      <a:pt x="736" y="112"/>
                    </a:lnTo>
                    <a:lnTo>
                      <a:pt x="768" y="104"/>
                    </a:lnTo>
                    <a:lnTo>
                      <a:pt x="768" y="120"/>
                    </a:lnTo>
                    <a:lnTo>
                      <a:pt x="744" y="168"/>
                    </a:lnTo>
                    <a:lnTo>
                      <a:pt x="736" y="160"/>
                    </a:lnTo>
                    <a:lnTo>
                      <a:pt x="720" y="168"/>
                    </a:lnTo>
                    <a:lnTo>
                      <a:pt x="728" y="192"/>
                    </a:lnTo>
                    <a:lnTo>
                      <a:pt x="720" y="208"/>
                    </a:lnTo>
                    <a:lnTo>
                      <a:pt x="712" y="208"/>
                    </a:lnTo>
                    <a:lnTo>
                      <a:pt x="696" y="216"/>
                    </a:lnTo>
                    <a:lnTo>
                      <a:pt x="688" y="216"/>
                    </a:lnTo>
                    <a:lnTo>
                      <a:pt x="680" y="224"/>
                    </a:lnTo>
                    <a:lnTo>
                      <a:pt x="672" y="224"/>
                    </a:lnTo>
                    <a:lnTo>
                      <a:pt x="640" y="248"/>
                    </a:lnTo>
                    <a:lnTo>
                      <a:pt x="640" y="256"/>
                    </a:lnTo>
                    <a:lnTo>
                      <a:pt x="624" y="256"/>
                    </a:lnTo>
                    <a:lnTo>
                      <a:pt x="600" y="272"/>
                    </a:lnTo>
                    <a:lnTo>
                      <a:pt x="600" y="264"/>
                    </a:lnTo>
                    <a:lnTo>
                      <a:pt x="600" y="256"/>
                    </a:lnTo>
                    <a:lnTo>
                      <a:pt x="608" y="240"/>
                    </a:lnTo>
                    <a:lnTo>
                      <a:pt x="600" y="232"/>
                    </a:lnTo>
                    <a:lnTo>
                      <a:pt x="576" y="256"/>
                    </a:lnTo>
                    <a:lnTo>
                      <a:pt x="568" y="264"/>
                    </a:lnTo>
                    <a:lnTo>
                      <a:pt x="560" y="264"/>
                    </a:lnTo>
                    <a:lnTo>
                      <a:pt x="552" y="272"/>
                    </a:lnTo>
                    <a:lnTo>
                      <a:pt x="576" y="296"/>
                    </a:lnTo>
                    <a:lnTo>
                      <a:pt x="592" y="288"/>
                    </a:lnTo>
                    <a:lnTo>
                      <a:pt x="616" y="296"/>
                    </a:lnTo>
                    <a:lnTo>
                      <a:pt x="616" y="304"/>
                    </a:lnTo>
                    <a:lnTo>
                      <a:pt x="608" y="296"/>
                    </a:lnTo>
                    <a:lnTo>
                      <a:pt x="592" y="304"/>
                    </a:lnTo>
                    <a:lnTo>
                      <a:pt x="576" y="328"/>
                    </a:lnTo>
                    <a:lnTo>
                      <a:pt x="584" y="336"/>
                    </a:lnTo>
                    <a:lnTo>
                      <a:pt x="592" y="368"/>
                    </a:lnTo>
                    <a:lnTo>
                      <a:pt x="608" y="376"/>
                    </a:lnTo>
                    <a:lnTo>
                      <a:pt x="600" y="376"/>
                    </a:lnTo>
                    <a:lnTo>
                      <a:pt x="608" y="392"/>
                    </a:lnTo>
                    <a:lnTo>
                      <a:pt x="584" y="400"/>
                    </a:lnTo>
                    <a:lnTo>
                      <a:pt x="608" y="400"/>
                    </a:lnTo>
                    <a:lnTo>
                      <a:pt x="600" y="432"/>
                    </a:lnTo>
                    <a:lnTo>
                      <a:pt x="584" y="448"/>
                    </a:lnTo>
                    <a:lnTo>
                      <a:pt x="576" y="448"/>
                    </a:lnTo>
                    <a:lnTo>
                      <a:pt x="576" y="464"/>
                    </a:lnTo>
                    <a:lnTo>
                      <a:pt x="568" y="480"/>
                    </a:lnTo>
                    <a:lnTo>
                      <a:pt x="560" y="480"/>
                    </a:lnTo>
                    <a:lnTo>
                      <a:pt x="560" y="488"/>
                    </a:lnTo>
                    <a:lnTo>
                      <a:pt x="536" y="504"/>
                    </a:lnTo>
                    <a:lnTo>
                      <a:pt x="512" y="504"/>
                    </a:lnTo>
                    <a:lnTo>
                      <a:pt x="512" y="512"/>
                    </a:lnTo>
                    <a:lnTo>
                      <a:pt x="504" y="504"/>
                    </a:lnTo>
                    <a:lnTo>
                      <a:pt x="504" y="512"/>
                    </a:lnTo>
                    <a:lnTo>
                      <a:pt x="496" y="512"/>
                    </a:lnTo>
                    <a:lnTo>
                      <a:pt x="464" y="528"/>
                    </a:lnTo>
                    <a:lnTo>
                      <a:pt x="456" y="536"/>
                    </a:lnTo>
                    <a:lnTo>
                      <a:pt x="456" y="520"/>
                    </a:lnTo>
                    <a:lnTo>
                      <a:pt x="440" y="520"/>
                    </a:lnTo>
                    <a:lnTo>
                      <a:pt x="432" y="520"/>
                    </a:lnTo>
                    <a:lnTo>
                      <a:pt x="416" y="520"/>
                    </a:lnTo>
                    <a:lnTo>
                      <a:pt x="416" y="504"/>
                    </a:lnTo>
                    <a:lnTo>
                      <a:pt x="400" y="504"/>
                    </a:lnTo>
                    <a:lnTo>
                      <a:pt x="368" y="512"/>
                    </a:lnTo>
                    <a:lnTo>
                      <a:pt x="360" y="504"/>
                    </a:lnTo>
                    <a:lnTo>
                      <a:pt x="360" y="512"/>
                    </a:lnTo>
                    <a:lnTo>
                      <a:pt x="352" y="512"/>
                    </a:lnTo>
                    <a:lnTo>
                      <a:pt x="352" y="528"/>
                    </a:lnTo>
                    <a:lnTo>
                      <a:pt x="344" y="528"/>
                    </a:lnTo>
                    <a:lnTo>
                      <a:pt x="344" y="520"/>
                    </a:lnTo>
                    <a:lnTo>
                      <a:pt x="336" y="520"/>
                    </a:lnTo>
                    <a:lnTo>
                      <a:pt x="320" y="512"/>
                    </a:lnTo>
                    <a:lnTo>
                      <a:pt x="320" y="504"/>
                    </a:lnTo>
                    <a:lnTo>
                      <a:pt x="320" y="496"/>
                    </a:lnTo>
                    <a:lnTo>
                      <a:pt x="312" y="488"/>
                    </a:lnTo>
                    <a:lnTo>
                      <a:pt x="304" y="488"/>
                    </a:lnTo>
                    <a:lnTo>
                      <a:pt x="312" y="448"/>
                    </a:lnTo>
                    <a:lnTo>
                      <a:pt x="304" y="432"/>
                    </a:lnTo>
                    <a:lnTo>
                      <a:pt x="296" y="432"/>
                    </a:lnTo>
                    <a:lnTo>
                      <a:pt x="280" y="416"/>
                    </a:lnTo>
                    <a:lnTo>
                      <a:pt x="264" y="416"/>
                    </a:lnTo>
                    <a:lnTo>
                      <a:pt x="224" y="432"/>
                    </a:lnTo>
                    <a:lnTo>
                      <a:pt x="200" y="432"/>
                    </a:lnTo>
                    <a:lnTo>
                      <a:pt x="192" y="440"/>
                    </a:lnTo>
                    <a:lnTo>
                      <a:pt x="184" y="432"/>
                    </a:lnTo>
                    <a:lnTo>
                      <a:pt x="176" y="432"/>
                    </a:lnTo>
                    <a:lnTo>
                      <a:pt x="152" y="432"/>
                    </a:lnTo>
                    <a:lnTo>
                      <a:pt x="136" y="424"/>
                    </a:lnTo>
                    <a:lnTo>
                      <a:pt x="128" y="416"/>
                    </a:lnTo>
                    <a:lnTo>
                      <a:pt x="120" y="416"/>
                    </a:lnTo>
                    <a:lnTo>
                      <a:pt x="104" y="400"/>
                    </a:lnTo>
                    <a:lnTo>
                      <a:pt x="88" y="400"/>
                    </a:lnTo>
                    <a:lnTo>
                      <a:pt x="64" y="392"/>
                    </a:lnTo>
                    <a:lnTo>
                      <a:pt x="56" y="368"/>
                    </a:lnTo>
                    <a:lnTo>
                      <a:pt x="72" y="368"/>
                    </a:lnTo>
                    <a:lnTo>
                      <a:pt x="64" y="352"/>
                    </a:lnTo>
                    <a:lnTo>
                      <a:pt x="80" y="336"/>
                    </a:lnTo>
                    <a:lnTo>
                      <a:pt x="80" y="320"/>
                    </a:lnTo>
                    <a:lnTo>
                      <a:pt x="72" y="312"/>
                    </a:lnTo>
                    <a:lnTo>
                      <a:pt x="48" y="320"/>
                    </a:lnTo>
                    <a:lnTo>
                      <a:pt x="32" y="312"/>
                    </a:lnTo>
                    <a:lnTo>
                      <a:pt x="24" y="304"/>
                    </a:lnTo>
                    <a:lnTo>
                      <a:pt x="8" y="296"/>
                    </a:lnTo>
                    <a:lnTo>
                      <a:pt x="16" y="296"/>
                    </a:lnTo>
                    <a:lnTo>
                      <a:pt x="16" y="272"/>
                    </a:lnTo>
                    <a:lnTo>
                      <a:pt x="0" y="272"/>
                    </a:lnTo>
                    <a:lnTo>
                      <a:pt x="0" y="248"/>
                    </a:lnTo>
                    <a:lnTo>
                      <a:pt x="16" y="240"/>
                    </a:lnTo>
                    <a:lnTo>
                      <a:pt x="32" y="240"/>
                    </a:lnTo>
                    <a:lnTo>
                      <a:pt x="40" y="232"/>
                    </a:lnTo>
                    <a:lnTo>
                      <a:pt x="56" y="232"/>
                    </a:lnTo>
                    <a:lnTo>
                      <a:pt x="80" y="216"/>
                    </a:lnTo>
                    <a:lnTo>
                      <a:pt x="88" y="200"/>
                    </a:lnTo>
                    <a:lnTo>
                      <a:pt x="80" y="168"/>
                    </a:lnTo>
                    <a:lnTo>
                      <a:pt x="80" y="160"/>
                    </a:lnTo>
                    <a:lnTo>
                      <a:pt x="104" y="160"/>
                    </a:lnTo>
                    <a:lnTo>
                      <a:pt x="112" y="128"/>
                    </a:lnTo>
                    <a:lnTo>
                      <a:pt x="136" y="128"/>
                    </a:lnTo>
                    <a:lnTo>
                      <a:pt x="144" y="128"/>
                    </a:lnTo>
                    <a:lnTo>
                      <a:pt x="152" y="104"/>
                    </a:lnTo>
                    <a:lnTo>
                      <a:pt x="160" y="96"/>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0" name="Freeform 8">
                <a:extLst>
                  <a:ext uri="{FF2B5EF4-FFF2-40B4-BE49-F238E27FC236}">
                    <a16:creationId xmlns:a16="http://schemas.microsoft.com/office/drawing/2014/main" id="{7C981228-F818-4F26-929A-98AF0B264779}"/>
                  </a:ext>
                </a:extLst>
              </p:cNvPr>
              <p:cNvSpPr>
                <a:spLocks/>
              </p:cNvSpPr>
              <p:nvPr/>
            </p:nvSpPr>
            <p:spPr bwMode="auto">
              <a:xfrm>
                <a:off x="1073537" y="1973528"/>
                <a:ext cx="917043" cy="1010729"/>
              </a:xfrm>
              <a:custGeom>
                <a:avLst/>
                <a:gdLst>
                  <a:gd name="T0" fmla="*/ 605532 w 369"/>
                  <a:gd name="T1" fmla="*/ 187342 h 385"/>
                  <a:gd name="T2" fmla="*/ 663202 w 369"/>
                  <a:gd name="T3" fmla="*/ 216164 h 385"/>
                  <a:gd name="T4" fmla="*/ 634367 w 369"/>
                  <a:gd name="T5" fmla="*/ 244985 h 385"/>
                  <a:gd name="T6" fmla="*/ 591115 w 369"/>
                  <a:gd name="T7" fmla="*/ 317040 h 385"/>
                  <a:gd name="T8" fmla="*/ 562280 w 369"/>
                  <a:gd name="T9" fmla="*/ 360273 h 385"/>
                  <a:gd name="T10" fmla="*/ 547862 w 369"/>
                  <a:gd name="T11" fmla="*/ 331451 h 385"/>
                  <a:gd name="T12" fmla="*/ 533445 w 369"/>
                  <a:gd name="T13" fmla="*/ 331451 h 385"/>
                  <a:gd name="T14" fmla="*/ 519028 w 369"/>
                  <a:gd name="T15" fmla="*/ 317040 h 385"/>
                  <a:gd name="T16" fmla="*/ 490193 w 369"/>
                  <a:gd name="T17" fmla="*/ 288218 h 385"/>
                  <a:gd name="T18" fmla="*/ 475775 w 369"/>
                  <a:gd name="T19" fmla="*/ 259396 h 385"/>
                  <a:gd name="T20" fmla="*/ 461358 w 369"/>
                  <a:gd name="T21" fmla="*/ 273807 h 385"/>
                  <a:gd name="T22" fmla="*/ 461358 w 369"/>
                  <a:gd name="T23" fmla="*/ 302629 h 385"/>
                  <a:gd name="T24" fmla="*/ 461358 w 369"/>
                  <a:gd name="T25" fmla="*/ 374684 h 385"/>
                  <a:gd name="T26" fmla="*/ 432523 w 369"/>
                  <a:gd name="T27" fmla="*/ 374684 h 385"/>
                  <a:gd name="T28" fmla="*/ 389271 w 369"/>
                  <a:gd name="T29" fmla="*/ 432327 h 385"/>
                  <a:gd name="T30" fmla="*/ 317183 w 369"/>
                  <a:gd name="T31" fmla="*/ 504382 h 385"/>
                  <a:gd name="T32" fmla="*/ 288349 w 369"/>
                  <a:gd name="T33" fmla="*/ 518793 h 385"/>
                  <a:gd name="T34" fmla="*/ 273931 w 369"/>
                  <a:gd name="T35" fmla="*/ 533204 h 385"/>
                  <a:gd name="T36" fmla="*/ 259514 w 369"/>
                  <a:gd name="T37" fmla="*/ 605258 h 385"/>
                  <a:gd name="T38" fmla="*/ 245096 w 369"/>
                  <a:gd name="T39" fmla="*/ 662902 h 385"/>
                  <a:gd name="T40" fmla="*/ 216261 w 369"/>
                  <a:gd name="T41" fmla="*/ 691724 h 385"/>
                  <a:gd name="T42" fmla="*/ 144174 w 369"/>
                  <a:gd name="T43" fmla="*/ 547615 h 385"/>
                  <a:gd name="T44" fmla="*/ 100922 w 369"/>
                  <a:gd name="T45" fmla="*/ 417916 h 385"/>
                  <a:gd name="T46" fmla="*/ 86505 w 369"/>
                  <a:gd name="T47" fmla="*/ 389095 h 385"/>
                  <a:gd name="T48" fmla="*/ 14417 w 369"/>
                  <a:gd name="T49" fmla="*/ 360273 h 385"/>
                  <a:gd name="T50" fmla="*/ 43252 w 369"/>
                  <a:gd name="T51" fmla="*/ 345862 h 385"/>
                  <a:gd name="T52" fmla="*/ 0 w 369"/>
                  <a:gd name="T53" fmla="*/ 331451 h 385"/>
                  <a:gd name="T54" fmla="*/ 57670 w 369"/>
                  <a:gd name="T55" fmla="*/ 317040 h 385"/>
                  <a:gd name="T56" fmla="*/ 57670 w 369"/>
                  <a:gd name="T57" fmla="*/ 273807 h 385"/>
                  <a:gd name="T58" fmla="*/ 43252 w 369"/>
                  <a:gd name="T59" fmla="*/ 259396 h 385"/>
                  <a:gd name="T60" fmla="*/ 28835 w 369"/>
                  <a:gd name="T61" fmla="*/ 230575 h 385"/>
                  <a:gd name="T62" fmla="*/ 57670 w 369"/>
                  <a:gd name="T63" fmla="*/ 230575 h 385"/>
                  <a:gd name="T64" fmla="*/ 158592 w 369"/>
                  <a:gd name="T65" fmla="*/ 129698 h 385"/>
                  <a:gd name="T66" fmla="*/ 158592 w 369"/>
                  <a:gd name="T67" fmla="*/ 115287 h 385"/>
                  <a:gd name="T68" fmla="*/ 129757 w 369"/>
                  <a:gd name="T69" fmla="*/ 86465 h 385"/>
                  <a:gd name="T70" fmla="*/ 129757 w 369"/>
                  <a:gd name="T71" fmla="*/ 43233 h 385"/>
                  <a:gd name="T72" fmla="*/ 173009 w 369"/>
                  <a:gd name="T73" fmla="*/ 43233 h 385"/>
                  <a:gd name="T74" fmla="*/ 216261 w 369"/>
                  <a:gd name="T75" fmla="*/ 14411 h 385"/>
                  <a:gd name="T76" fmla="*/ 273931 w 369"/>
                  <a:gd name="T77" fmla="*/ 14411 h 385"/>
                  <a:gd name="T78" fmla="*/ 245096 w 369"/>
                  <a:gd name="T79" fmla="*/ 72055 h 385"/>
                  <a:gd name="T80" fmla="*/ 230679 w 369"/>
                  <a:gd name="T81" fmla="*/ 100876 h 385"/>
                  <a:gd name="T82" fmla="*/ 288349 w 369"/>
                  <a:gd name="T83" fmla="*/ 158520 h 385"/>
                  <a:gd name="T84" fmla="*/ 302766 w 369"/>
                  <a:gd name="T85" fmla="*/ 216164 h 385"/>
                  <a:gd name="T86" fmla="*/ 446940 w 369"/>
                  <a:gd name="T87" fmla="*/ 259396 h 385"/>
                  <a:gd name="T88" fmla="*/ 446940 w 369"/>
                  <a:gd name="T89" fmla="*/ 216164 h 385"/>
                  <a:gd name="T90" fmla="*/ 475775 w 369"/>
                  <a:gd name="T91" fmla="*/ 230575 h 385"/>
                  <a:gd name="T92" fmla="*/ 533445 w 369"/>
                  <a:gd name="T93" fmla="*/ 244985 h 385"/>
                  <a:gd name="T94" fmla="*/ 533445 w 369"/>
                  <a:gd name="T95" fmla="*/ 216164 h 3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9"/>
                  <a:gd name="T145" fmla="*/ 0 h 385"/>
                  <a:gd name="T146" fmla="*/ 369 w 369"/>
                  <a:gd name="T147" fmla="*/ 385 h 3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9" h="385">
                    <a:moveTo>
                      <a:pt x="336" y="104"/>
                    </a:moveTo>
                    <a:lnTo>
                      <a:pt x="336" y="104"/>
                    </a:lnTo>
                    <a:lnTo>
                      <a:pt x="352" y="104"/>
                    </a:lnTo>
                    <a:lnTo>
                      <a:pt x="368" y="120"/>
                    </a:lnTo>
                    <a:lnTo>
                      <a:pt x="368" y="136"/>
                    </a:lnTo>
                    <a:lnTo>
                      <a:pt x="352" y="136"/>
                    </a:lnTo>
                    <a:lnTo>
                      <a:pt x="344" y="144"/>
                    </a:lnTo>
                    <a:lnTo>
                      <a:pt x="328" y="176"/>
                    </a:lnTo>
                    <a:lnTo>
                      <a:pt x="320" y="184"/>
                    </a:lnTo>
                    <a:lnTo>
                      <a:pt x="312" y="200"/>
                    </a:lnTo>
                    <a:lnTo>
                      <a:pt x="312" y="208"/>
                    </a:lnTo>
                    <a:lnTo>
                      <a:pt x="304" y="184"/>
                    </a:lnTo>
                    <a:lnTo>
                      <a:pt x="304" y="176"/>
                    </a:lnTo>
                    <a:lnTo>
                      <a:pt x="296" y="184"/>
                    </a:lnTo>
                    <a:lnTo>
                      <a:pt x="288" y="184"/>
                    </a:lnTo>
                    <a:lnTo>
                      <a:pt x="288" y="176"/>
                    </a:lnTo>
                    <a:lnTo>
                      <a:pt x="304" y="160"/>
                    </a:lnTo>
                    <a:lnTo>
                      <a:pt x="272" y="160"/>
                    </a:lnTo>
                    <a:lnTo>
                      <a:pt x="272" y="144"/>
                    </a:lnTo>
                    <a:lnTo>
                      <a:pt x="264" y="144"/>
                    </a:lnTo>
                    <a:lnTo>
                      <a:pt x="256" y="144"/>
                    </a:lnTo>
                    <a:lnTo>
                      <a:pt x="256" y="152"/>
                    </a:lnTo>
                    <a:lnTo>
                      <a:pt x="248" y="168"/>
                    </a:lnTo>
                    <a:lnTo>
                      <a:pt x="256" y="168"/>
                    </a:lnTo>
                    <a:lnTo>
                      <a:pt x="264" y="208"/>
                    </a:lnTo>
                    <a:lnTo>
                      <a:pt x="256" y="208"/>
                    </a:lnTo>
                    <a:lnTo>
                      <a:pt x="256" y="200"/>
                    </a:lnTo>
                    <a:lnTo>
                      <a:pt x="240" y="208"/>
                    </a:lnTo>
                    <a:lnTo>
                      <a:pt x="232" y="232"/>
                    </a:lnTo>
                    <a:lnTo>
                      <a:pt x="216" y="240"/>
                    </a:lnTo>
                    <a:lnTo>
                      <a:pt x="176" y="272"/>
                    </a:lnTo>
                    <a:lnTo>
                      <a:pt x="176" y="280"/>
                    </a:lnTo>
                    <a:lnTo>
                      <a:pt x="168" y="280"/>
                    </a:lnTo>
                    <a:lnTo>
                      <a:pt x="160" y="288"/>
                    </a:lnTo>
                    <a:lnTo>
                      <a:pt x="152" y="288"/>
                    </a:lnTo>
                    <a:lnTo>
                      <a:pt x="152" y="296"/>
                    </a:lnTo>
                    <a:lnTo>
                      <a:pt x="152" y="320"/>
                    </a:lnTo>
                    <a:lnTo>
                      <a:pt x="144" y="336"/>
                    </a:lnTo>
                    <a:lnTo>
                      <a:pt x="144" y="360"/>
                    </a:lnTo>
                    <a:lnTo>
                      <a:pt x="136" y="368"/>
                    </a:lnTo>
                    <a:lnTo>
                      <a:pt x="128" y="376"/>
                    </a:lnTo>
                    <a:lnTo>
                      <a:pt x="120" y="384"/>
                    </a:lnTo>
                    <a:lnTo>
                      <a:pt x="104" y="376"/>
                    </a:lnTo>
                    <a:lnTo>
                      <a:pt x="80" y="304"/>
                    </a:lnTo>
                    <a:lnTo>
                      <a:pt x="64" y="280"/>
                    </a:lnTo>
                    <a:lnTo>
                      <a:pt x="56" y="232"/>
                    </a:lnTo>
                    <a:lnTo>
                      <a:pt x="56" y="200"/>
                    </a:lnTo>
                    <a:lnTo>
                      <a:pt x="48" y="216"/>
                    </a:lnTo>
                    <a:lnTo>
                      <a:pt x="32" y="224"/>
                    </a:lnTo>
                    <a:lnTo>
                      <a:pt x="8" y="200"/>
                    </a:lnTo>
                    <a:lnTo>
                      <a:pt x="24" y="200"/>
                    </a:lnTo>
                    <a:lnTo>
                      <a:pt x="24" y="192"/>
                    </a:lnTo>
                    <a:lnTo>
                      <a:pt x="16" y="192"/>
                    </a:lnTo>
                    <a:lnTo>
                      <a:pt x="0" y="184"/>
                    </a:lnTo>
                    <a:lnTo>
                      <a:pt x="8" y="176"/>
                    </a:lnTo>
                    <a:lnTo>
                      <a:pt x="32" y="176"/>
                    </a:lnTo>
                    <a:lnTo>
                      <a:pt x="32" y="168"/>
                    </a:lnTo>
                    <a:lnTo>
                      <a:pt x="32" y="152"/>
                    </a:lnTo>
                    <a:lnTo>
                      <a:pt x="24" y="152"/>
                    </a:lnTo>
                    <a:lnTo>
                      <a:pt x="24" y="144"/>
                    </a:lnTo>
                    <a:lnTo>
                      <a:pt x="16" y="144"/>
                    </a:lnTo>
                    <a:lnTo>
                      <a:pt x="16" y="128"/>
                    </a:lnTo>
                    <a:lnTo>
                      <a:pt x="24" y="120"/>
                    </a:lnTo>
                    <a:lnTo>
                      <a:pt x="32" y="128"/>
                    </a:lnTo>
                    <a:lnTo>
                      <a:pt x="48" y="120"/>
                    </a:lnTo>
                    <a:lnTo>
                      <a:pt x="88" y="72"/>
                    </a:lnTo>
                    <a:lnTo>
                      <a:pt x="80" y="64"/>
                    </a:lnTo>
                    <a:lnTo>
                      <a:pt x="88" y="64"/>
                    </a:lnTo>
                    <a:lnTo>
                      <a:pt x="88" y="56"/>
                    </a:lnTo>
                    <a:lnTo>
                      <a:pt x="72" y="48"/>
                    </a:lnTo>
                    <a:lnTo>
                      <a:pt x="80" y="32"/>
                    </a:lnTo>
                    <a:lnTo>
                      <a:pt x="72" y="24"/>
                    </a:lnTo>
                    <a:lnTo>
                      <a:pt x="80" y="16"/>
                    </a:lnTo>
                    <a:lnTo>
                      <a:pt x="96" y="24"/>
                    </a:lnTo>
                    <a:lnTo>
                      <a:pt x="112" y="16"/>
                    </a:lnTo>
                    <a:lnTo>
                      <a:pt x="120" y="8"/>
                    </a:lnTo>
                    <a:lnTo>
                      <a:pt x="144" y="0"/>
                    </a:lnTo>
                    <a:lnTo>
                      <a:pt x="152" y="8"/>
                    </a:lnTo>
                    <a:lnTo>
                      <a:pt x="152" y="24"/>
                    </a:lnTo>
                    <a:lnTo>
                      <a:pt x="136" y="40"/>
                    </a:lnTo>
                    <a:lnTo>
                      <a:pt x="144" y="56"/>
                    </a:lnTo>
                    <a:lnTo>
                      <a:pt x="128" y="56"/>
                    </a:lnTo>
                    <a:lnTo>
                      <a:pt x="136" y="80"/>
                    </a:lnTo>
                    <a:lnTo>
                      <a:pt x="160" y="88"/>
                    </a:lnTo>
                    <a:lnTo>
                      <a:pt x="152" y="112"/>
                    </a:lnTo>
                    <a:lnTo>
                      <a:pt x="168" y="120"/>
                    </a:lnTo>
                    <a:lnTo>
                      <a:pt x="240" y="144"/>
                    </a:lnTo>
                    <a:lnTo>
                      <a:pt x="248" y="144"/>
                    </a:lnTo>
                    <a:lnTo>
                      <a:pt x="248" y="136"/>
                    </a:lnTo>
                    <a:lnTo>
                      <a:pt x="248" y="120"/>
                    </a:lnTo>
                    <a:lnTo>
                      <a:pt x="256" y="120"/>
                    </a:lnTo>
                    <a:lnTo>
                      <a:pt x="264" y="128"/>
                    </a:lnTo>
                    <a:lnTo>
                      <a:pt x="264" y="136"/>
                    </a:lnTo>
                    <a:lnTo>
                      <a:pt x="296" y="136"/>
                    </a:lnTo>
                    <a:lnTo>
                      <a:pt x="304" y="136"/>
                    </a:lnTo>
                    <a:lnTo>
                      <a:pt x="296" y="120"/>
                    </a:lnTo>
                    <a:lnTo>
                      <a:pt x="336" y="104"/>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1" name="Freeform 9">
                <a:extLst>
                  <a:ext uri="{FF2B5EF4-FFF2-40B4-BE49-F238E27FC236}">
                    <a16:creationId xmlns:a16="http://schemas.microsoft.com/office/drawing/2014/main" id="{BD4E5664-03C8-4349-B87A-0F145EEEA134}"/>
                  </a:ext>
                </a:extLst>
              </p:cNvPr>
              <p:cNvSpPr>
                <a:spLocks/>
              </p:cNvSpPr>
              <p:nvPr/>
            </p:nvSpPr>
            <p:spPr bwMode="auto">
              <a:xfrm>
                <a:off x="1073537" y="1973528"/>
                <a:ext cx="917043" cy="1010729"/>
              </a:xfrm>
              <a:custGeom>
                <a:avLst/>
                <a:gdLst>
                  <a:gd name="T0" fmla="*/ 634367 w 369"/>
                  <a:gd name="T1" fmla="*/ 187342 h 385"/>
                  <a:gd name="T2" fmla="*/ 663202 w 369"/>
                  <a:gd name="T3" fmla="*/ 244985 h 385"/>
                  <a:gd name="T4" fmla="*/ 619950 w 369"/>
                  <a:gd name="T5" fmla="*/ 259396 h 385"/>
                  <a:gd name="T6" fmla="*/ 576697 w 369"/>
                  <a:gd name="T7" fmla="*/ 331451 h 385"/>
                  <a:gd name="T8" fmla="*/ 562280 w 369"/>
                  <a:gd name="T9" fmla="*/ 374684 h 385"/>
                  <a:gd name="T10" fmla="*/ 547862 w 369"/>
                  <a:gd name="T11" fmla="*/ 317040 h 385"/>
                  <a:gd name="T12" fmla="*/ 519028 w 369"/>
                  <a:gd name="T13" fmla="*/ 331451 h 385"/>
                  <a:gd name="T14" fmla="*/ 547862 w 369"/>
                  <a:gd name="T15" fmla="*/ 288218 h 385"/>
                  <a:gd name="T16" fmla="*/ 490193 w 369"/>
                  <a:gd name="T17" fmla="*/ 259396 h 385"/>
                  <a:gd name="T18" fmla="*/ 461358 w 369"/>
                  <a:gd name="T19" fmla="*/ 259396 h 385"/>
                  <a:gd name="T20" fmla="*/ 446940 w 369"/>
                  <a:gd name="T21" fmla="*/ 302629 h 385"/>
                  <a:gd name="T22" fmla="*/ 475775 w 369"/>
                  <a:gd name="T23" fmla="*/ 374684 h 385"/>
                  <a:gd name="T24" fmla="*/ 461358 w 369"/>
                  <a:gd name="T25" fmla="*/ 360273 h 385"/>
                  <a:gd name="T26" fmla="*/ 418105 w 369"/>
                  <a:gd name="T27" fmla="*/ 417916 h 385"/>
                  <a:gd name="T28" fmla="*/ 317183 w 369"/>
                  <a:gd name="T29" fmla="*/ 489971 h 385"/>
                  <a:gd name="T30" fmla="*/ 302766 w 369"/>
                  <a:gd name="T31" fmla="*/ 504382 h 385"/>
                  <a:gd name="T32" fmla="*/ 273931 w 369"/>
                  <a:gd name="T33" fmla="*/ 518793 h 385"/>
                  <a:gd name="T34" fmla="*/ 273931 w 369"/>
                  <a:gd name="T35" fmla="*/ 576436 h 385"/>
                  <a:gd name="T36" fmla="*/ 259514 w 369"/>
                  <a:gd name="T37" fmla="*/ 648491 h 385"/>
                  <a:gd name="T38" fmla="*/ 230679 w 369"/>
                  <a:gd name="T39" fmla="*/ 677313 h 385"/>
                  <a:gd name="T40" fmla="*/ 187427 w 369"/>
                  <a:gd name="T41" fmla="*/ 677313 h 385"/>
                  <a:gd name="T42" fmla="*/ 115339 w 369"/>
                  <a:gd name="T43" fmla="*/ 504382 h 385"/>
                  <a:gd name="T44" fmla="*/ 100922 w 369"/>
                  <a:gd name="T45" fmla="*/ 360273 h 385"/>
                  <a:gd name="T46" fmla="*/ 57670 w 369"/>
                  <a:gd name="T47" fmla="*/ 403505 h 385"/>
                  <a:gd name="T48" fmla="*/ 43252 w 369"/>
                  <a:gd name="T49" fmla="*/ 360273 h 385"/>
                  <a:gd name="T50" fmla="*/ 28835 w 369"/>
                  <a:gd name="T51" fmla="*/ 345862 h 385"/>
                  <a:gd name="T52" fmla="*/ 14417 w 369"/>
                  <a:gd name="T53" fmla="*/ 317040 h 385"/>
                  <a:gd name="T54" fmla="*/ 57670 w 369"/>
                  <a:gd name="T55" fmla="*/ 302629 h 385"/>
                  <a:gd name="T56" fmla="*/ 43252 w 369"/>
                  <a:gd name="T57" fmla="*/ 273807 h 385"/>
                  <a:gd name="T58" fmla="*/ 28835 w 369"/>
                  <a:gd name="T59" fmla="*/ 259396 h 385"/>
                  <a:gd name="T60" fmla="*/ 43252 w 369"/>
                  <a:gd name="T61" fmla="*/ 216164 h 385"/>
                  <a:gd name="T62" fmla="*/ 86505 w 369"/>
                  <a:gd name="T63" fmla="*/ 216164 h 385"/>
                  <a:gd name="T64" fmla="*/ 144174 w 369"/>
                  <a:gd name="T65" fmla="*/ 115287 h 385"/>
                  <a:gd name="T66" fmla="*/ 158592 w 369"/>
                  <a:gd name="T67" fmla="*/ 100876 h 385"/>
                  <a:gd name="T68" fmla="*/ 144174 w 369"/>
                  <a:gd name="T69" fmla="*/ 57644 h 385"/>
                  <a:gd name="T70" fmla="*/ 144174 w 369"/>
                  <a:gd name="T71" fmla="*/ 28822 h 385"/>
                  <a:gd name="T72" fmla="*/ 201844 w 369"/>
                  <a:gd name="T73" fmla="*/ 28822 h 385"/>
                  <a:gd name="T74" fmla="*/ 259514 w 369"/>
                  <a:gd name="T75" fmla="*/ 0 h 385"/>
                  <a:gd name="T76" fmla="*/ 273931 w 369"/>
                  <a:gd name="T77" fmla="*/ 43233 h 385"/>
                  <a:gd name="T78" fmla="*/ 259514 w 369"/>
                  <a:gd name="T79" fmla="*/ 100876 h 385"/>
                  <a:gd name="T80" fmla="*/ 245096 w 369"/>
                  <a:gd name="T81" fmla="*/ 144109 h 385"/>
                  <a:gd name="T82" fmla="*/ 273931 w 369"/>
                  <a:gd name="T83" fmla="*/ 201753 h 385"/>
                  <a:gd name="T84" fmla="*/ 432523 w 369"/>
                  <a:gd name="T85" fmla="*/ 259396 h 385"/>
                  <a:gd name="T86" fmla="*/ 446940 w 369"/>
                  <a:gd name="T87" fmla="*/ 244985 h 385"/>
                  <a:gd name="T88" fmla="*/ 461358 w 369"/>
                  <a:gd name="T89" fmla="*/ 216164 h 385"/>
                  <a:gd name="T90" fmla="*/ 475775 w 369"/>
                  <a:gd name="T91" fmla="*/ 244985 h 385"/>
                  <a:gd name="T92" fmla="*/ 547862 w 369"/>
                  <a:gd name="T93" fmla="*/ 244985 h 385"/>
                  <a:gd name="T94" fmla="*/ 605532 w 369"/>
                  <a:gd name="T95" fmla="*/ 187342 h 3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9"/>
                  <a:gd name="T145" fmla="*/ 0 h 385"/>
                  <a:gd name="T146" fmla="*/ 369 w 369"/>
                  <a:gd name="T147" fmla="*/ 385 h 3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9" h="385">
                    <a:moveTo>
                      <a:pt x="336" y="104"/>
                    </a:moveTo>
                    <a:lnTo>
                      <a:pt x="352" y="104"/>
                    </a:lnTo>
                    <a:lnTo>
                      <a:pt x="368" y="120"/>
                    </a:lnTo>
                    <a:lnTo>
                      <a:pt x="368" y="136"/>
                    </a:lnTo>
                    <a:lnTo>
                      <a:pt x="352" y="136"/>
                    </a:lnTo>
                    <a:lnTo>
                      <a:pt x="344" y="144"/>
                    </a:lnTo>
                    <a:lnTo>
                      <a:pt x="328" y="176"/>
                    </a:lnTo>
                    <a:lnTo>
                      <a:pt x="320" y="184"/>
                    </a:lnTo>
                    <a:lnTo>
                      <a:pt x="312" y="200"/>
                    </a:lnTo>
                    <a:lnTo>
                      <a:pt x="312" y="208"/>
                    </a:lnTo>
                    <a:lnTo>
                      <a:pt x="304" y="184"/>
                    </a:lnTo>
                    <a:lnTo>
                      <a:pt x="304" y="176"/>
                    </a:lnTo>
                    <a:lnTo>
                      <a:pt x="296" y="184"/>
                    </a:lnTo>
                    <a:lnTo>
                      <a:pt x="288" y="184"/>
                    </a:lnTo>
                    <a:lnTo>
                      <a:pt x="288" y="176"/>
                    </a:lnTo>
                    <a:lnTo>
                      <a:pt x="304" y="160"/>
                    </a:lnTo>
                    <a:lnTo>
                      <a:pt x="272" y="160"/>
                    </a:lnTo>
                    <a:lnTo>
                      <a:pt x="272" y="144"/>
                    </a:lnTo>
                    <a:lnTo>
                      <a:pt x="264" y="144"/>
                    </a:lnTo>
                    <a:lnTo>
                      <a:pt x="256" y="144"/>
                    </a:lnTo>
                    <a:lnTo>
                      <a:pt x="256" y="152"/>
                    </a:lnTo>
                    <a:lnTo>
                      <a:pt x="248" y="168"/>
                    </a:lnTo>
                    <a:lnTo>
                      <a:pt x="256" y="168"/>
                    </a:lnTo>
                    <a:lnTo>
                      <a:pt x="264" y="208"/>
                    </a:lnTo>
                    <a:lnTo>
                      <a:pt x="256" y="208"/>
                    </a:lnTo>
                    <a:lnTo>
                      <a:pt x="256" y="200"/>
                    </a:lnTo>
                    <a:lnTo>
                      <a:pt x="240" y="208"/>
                    </a:lnTo>
                    <a:lnTo>
                      <a:pt x="232" y="232"/>
                    </a:lnTo>
                    <a:lnTo>
                      <a:pt x="216" y="240"/>
                    </a:lnTo>
                    <a:lnTo>
                      <a:pt x="176" y="272"/>
                    </a:lnTo>
                    <a:lnTo>
                      <a:pt x="176" y="280"/>
                    </a:lnTo>
                    <a:lnTo>
                      <a:pt x="168" y="280"/>
                    </a:lnTo>
                    <a:lnTo>
                      <a:pt x="160" y="288"/>
                    </a:lnTo>
                    <a:lnTo>
                      <a:pt x="152" y="288"/>
                    </a:lnTo>
                    <a:lnTo>
                      <a:pt x="152" y="296"/>
                    </a:lnTo>
                    <a:lnTo>
                      <a:pt x="152" y="320"/>
                    </a:lnTo>
                    <a:lnTo>
                      <a:pt x="144" y="336"/>
                    </a:lnTo>
                    <a:lnTo>
                      <a:pt x="144" y="360"/>
                    </a:lnTo>
                    <a:lnTo>
                      <a:pt x="136" y="368"/>
                    </a:lnTo>
                    <a:lnTo>
                      <a:pt x="128" y="376"/>
                    </a:lnTo>
                    <a:lnTo>
                      <a:pt x="120" y="384"/>
                    </a:lnTo>
                    <a:lnTo>
                      <a:pt x="104" y="376"/>
                    </a:lnTo>
                    <a:lnTo>
                      <a:pt x="80" y="304"/>
                    </a:lnTo>
                    <a:lnTo>
                      <a:pt x="64" y="280"/>
                    </a:lnTo>
                    <a:lnTo>
                      <a:pt x="56" y="232"/>
                    </a:lnTo>
                    <a:lnTo>
                      <a:pt x="56" y="200"/>
                    </a:lnTo>
                    <a:lnTo>
                      <a:pt x="48" y="216"/>
                    </a:lnTo>
                    <a:lnTo>
                      <a:pt x="32" y="224"/>
                    </a:lnTo>
                    <a:lnTo>
                      <a:pt x="8" y="200"/>
                    </a:lnTo>
                    <a:lnTo>
                      <a:pt x="24" y="200"/>
                    </a:lnTo>
                    <a:lnTo>
                      <a:pt x="24" y="192"/>
                    </a:lnTo>
                    <a:lnTo>
                      <a:pt x="16" y="192"/>
                    </a:lnTo>
                    <a:lnTo>
                      <a:pt x="0" y="184"/>
                    </a:lnTo>
                    <a:lnTo>
                      <a:pt x="8" y="176"/>
                    </a:lnTo>
                    <a:lnTo>
                      <a:pt x="32" y="176"/>
                    </a:lnTo>
                    <a:lnTo>
                      <a:pt x="32" y="168"/>
                    </a:lnTo>
                    <a:lnTo>
                      <a:pt x="32" y="152"/>
                    </a:lnTo>
                    <a:lnTo>
                      <a:pt x="24" y="152"/>
                    </a:lnTo>
                    <a:lnTo>
                      <a:pt x="24" y="144"/>
                    </a:lnTo>
                    <a:lnTo>
                      <a:pt x="16" y="144"/>
                    </a:lnTo>
                    <a:lnTo>
                      <a:pt x="16" y="128"/>
                    </a:lnTo>
                    <a:lnTo>
                      <a:pt x="24" y="120"/>
                    </a:lnTo>
                    <a:lnTo>
                      <a:pt x="32" y="128"/>
                    </a:lnTo>
                    <a:lnTo>
                      <a:pt x="48" y="120"/>
                    </a:lnTo>
                    <a:lnTo>
                      <a:pt x="88" y="72"/>
                    </a:lnTo>
                    <a:lnTo>
                      <a:pt x="80" y="64"/>
                    </a:lnTo>
                    <a:lnTo>
                      <a:pt x="88" y="64"/>
                    </a:lnTo>
                    <a:lnTo>
                      <a:pt x="88" y="56"/>
                    </a:lnTo>
                    <a:lnTo>
                      <a:pt x="72" y="48"/>
                    </a:lnTo>
                    <a:lnTo>
                      <a:pt x="80" y="32"/>
                    </a:lnTo>
                    <a:lnTo>
                      <a:pt x="72" y="24"/>
                    </a:lnTo>
                    <a:lnTo>
                      <a:pt x="80" y="16"/>
                    </a:lnTo>
                    <a:lnTo>
                      <a:pt x="96" y="24"/>
                    </a:lnTo>
                    <a:lnTo>
                      <a:pt x="112" y="16"/>
                    </a:lnTo>
                    <a:lnTo>
                      <a:pt x="120" y="8"/>
                    </a:lnTo>
                    <a:lnTo>
                      <a:pt x="144" y="0"/>
                    </a:lnTo>
                    <a:lnTo>
                      <a:pt x="152" y="8"/>
                    </a:lnTo>
                    <a:lnTo>
                      <a:pt x="152" y="24"/>
                    </a:lnTo>
                    <a:lnTo>
                      <a:pt x="136" y="40"/>
                    </a:lnTo>
                    <a:lnTo>
                      <a:pt x="144" y="56"/>
                    </a:lnTo>
                    <a:lnTo>
                      <a:pt x="128" y="56"/>
                    </a:lnTo>
                    <a:lnTo>
                      <a:pt x="136" y="80"/>
                    </a:lnTo>
                    <a:lnTo>
                      <a:pt x="160" y="88"/>
                    </a:lnTo>
                    <a:lnTo>
                      <a:pt x="152" y="112"/>
                    </a:lnTo>
                    <a:lnTo>
                      <a:pt x="168" y="120"/>
                    </a:lnTo>
                    <a:lnTo>
                      <a:pt x="240" y="144"/>
                    </a:lnTo>
                    <a:lnTo>
                      <a:pt x="248" y="144"/>
                    </a:lnTo>
                    <a:lnTo>
                      <a:pt x="248" y="136"/>
                    </a:lnTo>
                    <a:lnTo>
                      <a:pt x="248" y="120"/>
                    </a:lnTo>
                    <a:lnTo>
                      <a:pt x="256" y="120"/>
                    </a:lnTo>
                    <a:lnTo>
                      <a:pt x="264" y="128"/>
                    </a:lnTo>
                    <a:lnTo>
                      <a:pt x="264" y="136"/>
                    </a:lnTo>
                    <a:lnTo>
                      <a:pt x="296" y="136"/>
                    </a:lnTo>
                    <a:lnTo>
                      <a:pt x="304" y="136"/>
                    </a:lnTo>
                    <a:lnTo>
                      <a:pt x="296" y="120"/>
                    </a:lnTo>
                    <a:lnTo>
                      <a:pt x="336" y="104"/>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2" name="Freeform 181">
                <a:extLst>
                  <a:ext uri="{FF2B5EF4-FFF2-40B4-BE49-F238E27FC236}">
                    <a16:creationId xmlns:a16="http://schemas.microsoft.com/office/drawing/2014/main" id="{EA78AB5E-DDB5-4CEF-9171-151D5AA64878}"/>
                  </a:ext>
                </a:extLst>
              </p:cNvPr>
              <p:cNvSpPr>
                <a:spLocks/>
              </p:cNvSpPr>
              <p:nvPr/>
            </p:nvSpPr>
            <p:spPr bwMode="auto">
              <a:xfrm>
                <a:off x="1451289" y="2204553"/>
                <a:ext cx="241065" cy="149641"/>
              </a:xfrm>
              <a:custGeom>
                <a:avLst/>
                <a:gdLst>
                  <a:gd name="T0" fmla="*/ 14417 w 97"/>
                  <a:gd name="T1" fmla="*/ 0 h 57"/>
                  <a:gd name="T2" fmla="*/ 14417 w 97"/>
                  <a:gd name="T3" fmla="*/ 0 h 57"/>
                  <a:gd name="T4" fmla="*/ 0 w 97"/>
                  <a:gd name="T5" fmla="*/ 43233 h 57"/>
                  <a:gd name="T6" fmla="*/ 28835 w 97"/>
                  <a:gd name="T7" fmla="*/ 57644 h 57"/>
                  <a:gd name="T8" fmla="*/ 158591 w 97"/>
                  <a:gd name="T9" fmla="*/ 100877 h 57"/>
                  <a:gd name="T10" fmla="*/ 173009 w 97"/>
                  <a:gd name="T11" fmla="*/ 100877 h 57"/>
                  <a:gd name="T12" fmla="*/ 173009 w 97"/>
                  <a:gd name="T13" fmla="*/ 86466 h 57"/>
                  <a:gd name="T14" fmla="*/ 173009 w 97"/>
                  <a:gd name="T15" fmla="*/ 57644 h 57"/>
                  <a:gd name="T16" fmla="*/ 129757 w 97"/>
                  <a:gd name="T17" fmla="*/ 57644 h 57"/>
                  <a:gd name="T18" fmla="*/ 100922 w 97"/>
                  <a:gd name="T19" fmla="*/ 43233 h 57"/>
                  <a:gd name="T20" fmla="*/ 86504 w 97"/>
                  <a:gd name="T21" fmla="*/ 28822 h 57"/>
                  <a:gd name="T22" fmla="*/ 72087 w 97"/>
                  <a:gd name="T23" fmla="*/ 28822 h 57"/>
                  <a:gd name="T24" fmla="*/ 43252 w 97"/>
                  <a:gd name="T25" fmla="*/ 0 h 57"/>
                  <a:gd name="T26" fmla="*/ 14417 w 97"/>
                  <a:gd name="T27" fmla="*/ 0 h 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
                  <a:gd name="T43" fmla="*/ 0 h 57"/>
                  <a:gd name="T44" fmla="*/ 97 w 97"/>
                  <a:gd name="T45" fmla="*/ 57 h 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 h="57">
                    <a:moveTo>
                      <a:pt x="8" y="0"/>
                    </a:moveTo>
                    <a:lnTo>
                      <a:pt x="8" y="0"/>
                    </a:lnTo>
                    <a:lnTo>
                      <a:pt x="0" y="24"/>
                    </a:lnTo>
                    <a:lnTo>
                      <a:pt x="16" y="32"/>
                    </a:lnTo>
                    <a:lnTo>
                      <a:pt x="88" y="56"/>
                    </a:lnTo>
                    <a:lnTo>
                      <a:pt x="96" y="56"/>
                    </a:lnTo>
                    <a:lnTo>
                      <a:pt x="96" y="48"/>
                    </a:lnTo>
                    <a:lnTo>
                      <a:pt x="96" y="32"/>
                    </a:lnTo>
                    <a:lnTo>
                      <a:pt x="72" y="32"/>
                    </a:lnTo>
                    <a:lnTo>
                      <a:pt x="56" y="24"/>
                    </a:lnTo>
                    <a:lnTo>
                      <a:pt x="48" y="16"/>
                    </a:lnTo>
                    <a:lnTo>
                      <a:pt x="40" y="16"/>
                    </a:lnTo>
                    <a:lnTo>
                      <a:pt x="24" y="0"/>
                    </a:lnTo>
                    <a:lnTo>
                      <a:pt x="8" y="0"/>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3" name="Freeform 182">
                <a:extLst>
                  <a:ext uri="{FF2B5EF4-FFF2-40B4-BE49-F238E27FC236}">
                    <a16:creationId xmlns:a16="http://schemas.microsoft.com/office/drawing/2014/main" id="{2C12B8C6-BD4C-4B9E-968E-EB4750499DD3}"/>
                  </a:ext>
                </a:extLst>
              </p:cNvPr>
              <p:cNvSpPr>
                <a:spLocks/>
              </p:cNvSpPr>
              <p:nvPr/>
            </p:nvSpPr>
            <p:spPr bwMode="auto">
              <a:xfrm>
                <a:off x="1451289" y="2204553"/>
                <a:ext cx="241065" cy="149641"/>
              </a:xfrm>
              <a:custGeom>
                <a:avLst/>
                <a:gdLst>
                  <a:gd name="T0" fmla="*/ 14417 w 97"/>
                  <a:gd name="T1" fmla="*/ 0 h 57"/>
                  <a:gd name="T2" fmla="*/ 0 w 97"/>
                  <a:gd name="T3" fmla="*/ 43233 h 57"/>
                  <a:gd name="T4" fmla="*/ 28835 w 97"/>
                  <a:gd name="T5" fmla="*/ 57644 h 57"/>
                  <a:gd name="T6" fmla="*/ 158591 w 97"/>
                  <a:gd name="T7" fmla="*/ 100877 h 57"/>
                  <a:gd name="T8" fmla="*/ 173009 w 97"/>
                  <a:gd name="T9" fmla="*/ 100877 h 57"/>
                  <a:gd name="T10" fmla="*/ 173009 w 97"/>
                  <a:gd name="T11" fmla="*/ 86466 h 57"/>
                  <a:gd name="T12" fmla="*/ 173009 w 97"/>
                  <a:gd name="T13" fmla="*/ 57644 h 57"/>
                  <a:gd name="T14" fmla="*/ 129757 w 97"/>
                  <a:gd name="T15" fmla="*/ 57644 h 57"/>
                  <a:gd name="T16" fmla="*/ 100922 w 97"/>
                  <a:gd name="T17" fmla="*/ 43233 h 57"/>
                  <a:gd name="T18" fmla="*/ 86504 w 97"/>
                  <a:gd name="T19" fmla="*/ 28822 h 57"/>
                  <a:gd name="T20" fmla="*/ 72087 w 97"/>
                  <a:gd name="T21" fmla="*/ 28822 h 57"/>
                  <a:gd name="T22" fmla="*/ 43252 w 97"/>
                  <a:gd name="T23" fmla="*/ 0 h 57"/>
                  <a:gd name="T24" fmla="*/ 14417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8" y="0"/>
                    </a:moveTo>
                    <a:lnTo>
                      <a:pt x="0" y="24"/>
                    </a:lnTo>
                    <a:lnTo>
                      <a:pt x="16" y="32"/>
                    </a:lnTo>
                    <a:lnTo>
                      <a:pt x="88" y="56"/>
                    </a:lnTo>
                    <a:lnTo>
                      <a:pt x="96" y="56"/>
                    </a:lnTo>
                    <a:lnTo>
                      <a:pt x="96" y="48"/>
                    </a:lnTo>
                    <a:lnTo>
                      <a:pt x="96" y="32"/>
                    </a:lnTo>
                    <a:lnTo>
                      <a:pt x="72" y="32"/>
                    </a:lnTo>
                    <a:lnTo>
                      <a:pt x="56" y="24"/>
                    </a:lnTo>
                    <a:lnTo>
                      <a:pt x="48" y="16"/>
                    </a:lnTo>
                    <a:lnTo>
                      <a:pt x="40" y="16"/>
                    </a:lnTo>
                    <a:lnTo>
                      <a:pt x="24" y="0"/>
                    </a:lnTo>
                    <a:lnTo>
                      <a:pt x="8"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4" name="Freeform 183">
                <a:extLst>
                  <a:ext uri="{FF2B5EF4-FFF2-40B4-BE49-F238E27FC236}">
                    <a16:creationId xmlns:a16="http://schemas.microsoft.com/office/drawing/2014/main" id="{3C867250-C253-4E58-BCE8-DD656A328603}"/>
                  </a:ext>
                </a:extLst>
              </p:cNvPr>
              <p:cNvSpPr>
                <a:spLocks/>
              </p:cNvSpPr>
              <p:nvPr/>
            </p:nvSpPr>
            <p:spPr bwMode="auto">
              <a:xfrm>
                <a:off x="1689868" y="2351566"/>
                <a:ext cx="161538" cy="191644"/>
              </a:xfrm>
              <a:custGeom>
                <a:avLst/>
                <a:gdLst>
                  <a:gd name="T0" fmla="*/ 115340 w 65"/>
                  <a:gd name="T1" fmla="*/ 115288 h 73"/>
                  <a:gd name="T2" fmla="*/ 115340 w 65"/>
                  <a:gd name="T3" fmla="*/ 115288 h 73"/>
                  <a:gd name="T4" fmla="*/ 100922 w 65"/>
                  <a:gd name="T5" fmla="*/ 72055 h 73"/>
                  <a:gd name="T6" fmla="*/ 100922 w 65"/>
                  <a:gd name="T7" fmla="*/ 57644 h 73"/>
                  <a:gd name="T8" fmla="*/ 86505 w 65"/>
                  <a:gd name="T9" fmla="*/ 72055 h 73"/>
                  <a:gd name="T10" fmla="*/ 72087 w 65"/>
                  <a:gd name="T11" fmla="*/ 72055 h 73"/>
                  <a:gd name="T12" fmla="*/ 72087 w 65"/>
                  <a:gd name="T13" fmla="*/ 57644 h 73"/>
                  <a:gd name="T14" fmla="*/ 100922 w 65"/>
                  <a:gd name="T15" fmla="*/ 28822 h 73"/>
                  <a:gd name="T16" fmla="*/ 43252 w 65"/>
                  <a:gd name="T17" fmla="*/ 28822 h 73"/>
                  <a:gd name="T18" fmla="*/ 43252 w 65"/>
                  <a:gd name="T19" fmla="*/ 0 h 73"/>
                  <a:gd name="T20" fmla="*/ 28835 w 65"/>
                  <a:gd name="T21" fmla="*/ 0 h 73"/>
                  <a:gd name="T22" fmla="*/ 14417 w 65"/>
                  <a:gd name="T23" fmla="*/ 0 h 73"/>
                  <a:gd name="T24" fmla="*/ 14417 w 65"/>
                  <a:gd name="T25" fmla="*/ 14411 h 73"/>
                  <a:gd name="T26" fmla="*/ 0 w 65"/>
                  <a:gd name="T27" fmla="*/ 43233 h 73"/>
                  <a:gd name="T28" fmla="*/ 14417 w 65"/>
                  <a:gd name="T29" fmla="*/ 43233 h 73"/>
                  <a:gd name="T30" fmla="*/ 28835 w 65"/>
                  <a:gd name="T31" fmla="*/ 115288 h 73"/>
                  <a:gd name="T32" fmla="*/ 57670 w 65"/>
                  <a:gd name="T33" fmla="*/ 115288 h 73"/>
                  <a:gd name="T34" fmla="*/ 86505 w 65"/>
                  <a:gd name="T35" fmla="*/ 86466 h 73"/>
                  <a:gd name="T36" fmla="*/ 100922 w 65"/>
                  <a:gd name="T37" fmla="*/ 129699 h 73"/>
                  <a:gd name="T38" fmla="*/ 115340 w 65"/>
                  <a:gd name="T39" fmla="*/ 115288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5"/>
                  <a:gd name="T61" fmla="*/ 0 h 73"/>
                  <a:gd name="T62" fmla="*/ 65 w 65"/>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5" h="73">
                    <a:moveTo>
                      <a:pt x="64" y="64"/>
                    </a:moveTo>
                    <a:lnTo>
                      <a:pt x="64" y="64"/>
                    </a:lnTo>
                    <a:lnTo>
                      <a:pt x="56" y="40"/>
                    </a:lnTo>
                    <a:lnTo>
                      <a:pt x="56" y="32"/>
                    </a:lnTo>
                    <a:lnTo>
                      <a:pt x="48" y="40"/>
                    </a:lnTo>
                    <a:lnTo>
                      <a:pt x="40" y="40"/>
                    </a:lnTo>
                    <a:lnTo>
                      <a:pt x="40" y="32"/>
                    </a:lnTo>
                    <a:lnTo>
                      <a:pt x="56" y="16"/>
                    </a:lnTo>
                    <a:lnTo>
                      <a:pt x="24" y="16"/>
                    </a:lnTo>
                    <a:lnTo>
                      <a:pt x="24" y="0"/>
                    </a:lnTo>
                    <a:lnTo>
                      <a:pt x="16" y="0"/>
                    </a:lnTo>
                    <a:lnTo>
                      <a:pt x="8" y="0"/>
                    </a:lnTo>
                    <a:lnTo>
                      <a:pt x="8" y="8"/>
                    </a:lnTo>
                    <a:lnTo>
                      <a:pt x="0" y="24"/>
                    </a:lnTo>
                    <a:lnTo>
                      <a:pt x="8" y="24"/>
                    </a:lnTo>
                    <a:lnTo>
                      <a:pt x="16" y="64"/>
                    </a:lnTo>
                    <a:lnTo>
                      <a:pt x="32" y="64"/>
                    </a:lnTo>
                    <a:lnTo>
                      <a:pt x="48" y="48"/>
                    </a:lnTo>
                    <a:lnTo>
                      <a:pt x="56" y="72"/>
                    </a:lnTo>
                    <a:lnTo>
                      <a:pt x="64" y="64"/>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5" name="Freeform 184">
                <a:extLst>
                  <a:ext uri="{FF2B5EF4-FFF2-40B4-BE49-F238E27FC236}">
                    <a16:creationId xmlns:a16="http://schemas.microsoft.com/office/drawing/2014/main" id="{26854548-74E3-4F99-A2EE-CA35934735CD}"/>
                  </a:ext>
                </a:extLst>
              </p:cNvPr>
              <p:cNvSpPr>
                <a:spLocks/>
              </p:cNvSpPr>
              <p:nvPr/>
            </p:nvSpPr>
            <p:spPr bwMode="auto">
              <a:xfrm>
                <a:off x="1689868" y="2351566"/>
                <a:ext cx="161538" cy="191644"/>
              </a:xfrm>
              <a:custGeom>
                <a:avLst/>
                <a:gdLst>
                  <a:gd name="T0" fmla="*/ 115340 w 65"/>
                  <a:gd name="T1" fmla="*/ 115288 h 73"/>
                  <a:gd name="T2" fmla="*/ 100922 w 65"/>
                  <a:gd name="T3" fmla="*/ 72055 h 73"/>
                  <a:gd name="T4" fmla="*/ 100922 w 65"/>
                  <a:gd name="T5" fmla="*/ 57644 h 73"/>
                  <a:gd name="T6" fmla="*/ 86505 w 65"/>
                  <a:gd name="T7" fmla="*/ 72055 h 73"/>
                  <a:gd name="T8" fmla="*/ 72087 w 65"/>
                  <a:gd name="T9" fmla="*/ 72055 h 73"/>
                  <a:gd name="T10" fmla="*/ 72087 w 65"/>
                  <a:gd name="T11" fmla="*/ 57644 h 73"/>
                  <a:gd name="T12" fmla="*/ 100922 w 65"/>
                  <a:gd name="T13" fmla="*/ 28822 h 73"/>
                  <a:gd name="T14" fmla="*/ 43252 w 65"/>
                  <a:gd name="T15" fmla="*/ 28822 h 73"/>
                  <a:gd name="T16" fmla="*/ 43252 w 65"/>
                  <a:gd name="T17" fmla="*/ 0 h 73"/>
                  <a:gd name="T18" fmla="*/ 28835 w 65"/>
                  <a:gd name="T19" fmla="*/ 0 h 73"/>
                  <a:gd name="T20" fmla="*/ 14417 w 65"/>
                  <a:gd name="T21" fmla="*/ 0 h 73"/>
                  <a:gd name="T22" fmla="*/ 14417 w 65"/>
                  <a:gd name="T23" fmla="*/ 14411 h 73"/>
                  <a:gd name="T24" fmla="*/ 0 w 65"/>
                  <a:gd name="T25" fmla="*/ 43233 h 73"/>
                  <a:gd name="T26" fmla="*/ 14417 w 65"/>
                  <a:gd name="T27" fmla="*/ 43233 h 73"/>
                  <a:gd name="T28" fmla="*/ 28835 w 65"/>
                  <a:gd name="T29" fmla="*/ 115288 h 73"/>
                  <a:gd name="T30" fmla="*/ 57670 w 65"/>
                  <a:gd name="T31" fmla="*/ 115288 h 73"/>
                  <a:gd name="T32" fmla="*/ 86505 w 65"/>
                  <a:gd name="T33" fmla="*/ 86466 h 73"/>
                  <a:gd name="T34" fmla="*/ 100922 w 65"/>
                  <a:gd name="T35" fmla="*/ 129699 h 73"/>
                  <a:gd name="T36" fmla="*/ 115340 w 65"/>
                  <a:gd name="T37" fmla="*/ 115288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5"/>
                  <a:gd name="T58" fmla="*/ 0 h 73"/>
                  <a:gd name="T59" fmla="*/ 65 w 65"/>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5" h="73">
                    <a:moveTo>
                      <a:pt x="64" y="64"/>
                    </a:moveTo>
                    <a:lnTo>
                      <a:pt x="56" y="40"/>
                    </a:lnTo>
                    <a:lnTo>
                      <a:pt x="56" y="32"/>
                    </a:lnTo>
                    <a:lnTo>
                      <a:pt x="48" y="40"/>
                    </a:lnTo>
                    <a:lnTo>
                      <a:pt x="40" y="40"/>
                    </a:lnTo>
                    <a:lnTo>
                      <a:pt x="40" y="32"/>
                    </a:lnTo>
                    <a:lnTo>
                      <a:pt x="56" y="16"/>
                    </a:lnTo>
                    <a:lnTo>
                      <a:pt x="24" y="16"/>
                    </a:lnTo>
                    <a:lnTo>
                      <a:pt x="24" y="0"/>
                    </a:lnTo>
                    <a:lnTo>
                      <a:pt x="16" y="0"/>
                    </a:lnTo>
                    <a:lnTo>
                      <a:pt x="8" y="0"/>
                    </a:lnTo>
                    <a:lnTo>
                      <a:pt x="8" y="8"/>
                    </a:lnTo>
                    <a:lnTo>
                      <a:pt x="0" y="24"/>
                    </a:lnTo>
                    <a:lnTo>
                      <a:pt x="8" y="24"/>
                    </a:lnTo>
                    <a:lnTo>
                      <a:pt x="16" y="64"/>
                    </a:lnTo>
                    <a:lnTo>
                      <a:pt x="32" y="64"/>
                    </a:lnTo>
                    <a:lnTo>
                      <a:pt x="48" y="48"/>
                    </a:lnTo>
                    <a:lnTo>
                      <a:pt x="56" y="72"/>
                    </a:lnTo>
                    <a:lnTo>
                      <a:pt x="64" y="64"/>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6" name="Freeform 185">
                <a:extLst>
                  <a:ext uri="{FF2B5EF4-FFF2-40B4-BE49-F238E27FC236}">
                    <a16:creationId xmlns:a16="http://schemas.microsoft.com/office/drawing/2014/main" id="{BB7AA02B-9E19-4CF1-AFF4-25AE9541594F}"/>
                  </a:ext>
                </a:extLst>
              </p:cNvPr>
              <p:cNvSpPr>
                <a:spLocks/>
              </p:cNvSpPr>
              <p:nvPr/>
            </p:nvSpPr>
            <p:spPr bwMode="auto">
              <a:xfrm>
                <a:off x="1829041" y="2288560"/>
                <a:ext cx="280828" cy="653691"/>
              </a:xfrm>
              <a:custGeom>
                <a:avLst/>
                <a:gdLst>
                  <a:gd name="T0" fmla="*/ 144174 w 113"/>
                  <a:gd name="T1" fmla="*/ 446738 h 249"/>
                  <a:gd name="T2" fmla="*/ 144174 w 113"/>
                  <a:gd name="T3" fmla="*/ 446738 h 249"/>
                  <a:gd name="T4" fmla="*/ 173009 w 113"/>
                  <a:gd name="T5" fmla="*/ 389094 h 249"/>
                  <a:gd name="T6" fmla="*/ 158592 w 113"/>
                  <a:gd name="T7" fmla="*/ 345861 h 249"/>
                  <a:gd name="T8" fmla="*/ 144174 w 113"/>
                  <a:gd name="T9" fmla="*/ 317040 h 249"/>
                  <a:gd name="T10" fmla="*/ 144174 w 113"/>
                  <a:gd name="T11" fmla="*/ 288218 h 249"/>
                  <a:gd name="T12" fmla="*/ 129757 w 113"/>
                  <a:gd name="T13" fmla="*/ 244985 h 249"/>
                  <a:gd name="T14" fmla="*/ 129757 w 113"/>
                  <a:gd name="T15" fmla="*/ 216163 h 249"/>
                  <a:gd name="T16" fmla="*/ 187426 w 113"/>
                  <a:gd name="T17" fmla="*/ 187342 h 249"/>
                  <a:gd name="T18" fmla="*/ 201844 w 113"/>
                  <a:gd name="T19" fmla="*/ 158520 h 249"/>
                  <a:gd name="T20" fmla="*/ 187426 w 113"/>
                  <a:gd name="T21" fmla="*/ 158520 h 249"/>
                  <a:gd name="T22" fmla="*/ 158592 w 113"/>
                  <a:gd name="T23" fmla="*/ 144109 h 249"/>
                  <a:gd name="T24" fmla="*/ 158592 w 113"/>
                  <a:gd name="T25" fmla="*/ 129698 h 249"/>
                  <a:gd name="T26" fmla="*/ 158592 w 113"/>
                  <a:gd name="T27" fmla="*/ 115287 h 249"/>
                  <a:gd name="T28" fmla="*/ 144174 w 113"/>
                  <a:gd name="T29" fmla="*/ 100876 h 249"/>
                  <a:gd name="T30" fmla="*/ 129757 w 113"/>
                  <a:gd name="T31" fmla="*/ 100876 h 249"/>
                  <a:gd name="T32" fmla="*/ 144174 w 113"/>
                  <a:gd name="T33" fmla="*/ 28822 h 249"/>
                  <a:gd name="T34" fmla="*/ 129757 w 113"/>
                  <a:gd name="T35" fmla="*/ 0 h 249"/>
                  <a:gd name="T36" fmla="*/ 115339 w 113"/>
                  <a:gd name="T37" fmla="*/ 0 h 249"/>
                  <a:gd name="T38" fmla="*/ 115339 w 113"/>
                  <a:gd name="T39" fmla="*/ 28822 h 249"/>
                  <a:gd name="T40" fmla="*/ 86504 w 113"/>
                  <a:gd name="T41" fmla="*/ 28822 h 249"/>
                  <a:gd name="T42" fmla="*/ 72087 w 113"/>
                  <a:gd name="T43" fmla="*/ 43233 h 249"/>
                  <a:gd name="T44" fmla="*/ 43252 w 113"/>
                  <a:gd name="T45" fmla="*/ 100876 h 249"/>
                  <a:gd name="T46" fmla="*/ 28835 w 113"/>
                  <a:gd name="T47" fmla="*/ 115287 h 249"/>
                  <a:gd name="T48" fmla="*/ 14417 w 113"/>
                  <a:gd name="T49" fmla="*/ 144109 h 249"/>
                  <a:gd name="T50" fmla="*/ 14417 w 113"/>
                  <a:gd name="T51" fmla="*/ 158520 h 249"/>
                  <a:gd name="T52" fmla="*/ 0 w 113"/>
                  <a:gd name="T53" fmla="*/ 172931 h 249"/>
                  <a:gd name="T54" fmla="*/ 28835 w 113"/>
                  <a:gd name="T55" fmla="*/ 201752 h 249"/>
                  <a:gd name="T56" fmla="*/ 43252 w 113"/>
                  <a:gd name="T57" fmla="*/ 230574 h 249"/>
                  <a:gd name="T58" fmla="*/ 57670 w 113"/>
                  <a:gd name="T59" fmla="*/ 273807 h 249"/>
                  <a:gd name="T60" fmla="*/ 43252 w 113"/>
                  <a:gd name="T61" fmla="*/ 288218 h 249"/>
                  <a:gd name="T62" fmla="*/ 72087 w 113"/>
                  <a:gd name="T63" fmla="*/ 302629 h 249"/>
                  <a:gd name="T64" fmla="*/ 100922 w 113"/>
                  <a:gd name="T65" fmla="*/ 273807 h 249"/>
                  <a:gd name="T66" fmla="*/ 115339 w 113"/>
                  <a:gd name="T67" fmla="*/ 288218 h 249"/>
                  <a:gd name="T68" fmla="*/ 144174 w 113"/>
                  <a:gd name="T69" fmla="*/ 374683 h 249"/>
                  <a:gd name="T70" fmla="*/ 144174 w 113"/>
                  <a:gd name="T71" fmla="*/ 446738 h 2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3"/>
                  <a:gd name="T109" fmla="*/ 0 h 249"/>
                  <a:gd name="T110" fmla="*/ 113 w 113"/>
                  <a:gd name="T111" fmla="*/ 249 h 24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3" h="249">
                    <a:moveTo>
                      <a:pt x="80" y="248"/>
                    </a:moveTo>
                    <a:lnTo>
                      <a:pt x="80" y="248"/>
                    </a:lnTo>
                    <a:lnTo>
                      <a:pt x="96" y="216"/>
                    </a:lnTo>
                    <a:lnTo>
                      <a:pt x="88" y="192"/>
                    </a:lnTo>
                    <a:lnTo>
                      <a:pt x="80" y="176"/>
                    </a:lnTo>
                    <a:lnTo>
                      <a:pt x="80" y="160"/>
                    </a:lnTo>
                    <a:lnTo>
                      <a:pt x="72" y="136"/>
                    </a:lnTo>
                    <a:lnTo>
                      <a:pt x="72" y="120"/>
                    </a:lnTo>
                    <a:lnTo>
                      <a:pt x="104" y="104"/>
                    </a:lnTo>
                    <a:lnTo>
                      <a:pt x="112" y="88"/>
                    </a:lnTo>
                    <a:lnTo>
                      <a:pt x="104" y="88"/>
                    </a:lnTo>
                    <a:lnTo>
                      <a:pt x="88" y="80"/>
                    </a:lnTo>
                    <a:lnTo>
                      <a:pt x="88" y="72"/>
                    </a:lnTo>
                    <a:lnTo>
                      <a:pt x="88" y="64"/>
                    </a:lnTo>
                    <a:lnTo>
                      <a:pt x="80" y="56"/>
                    </a:lnTo>
                    <a:lnTo>
                      <a:pt x="72" y="56"/>
                    </a:lnTo>
                    <a:lnTo>
                      <a:pt x="80" y="16"/>
                    </a:lnTo>
                    <a:lnTo>
                      <a:pt x="72" y="0"/>
                    </a:lnTo>
                    <a:lnTo>
                      <a:pt x="64" y="0"/>
                    </a:lnTo>
                    <a:lnTo>
                      <a:pt x="64" y="16"/>
                    </a:lnTo>
                    <a:lnTo>
                      <a:pt x="48" y="16"/>
                    </a:lnTo>
                    <a:lnTo>
                      <a:pt x="40" y="24"/>
                    </a:lnTo>
                    <a:lnTo>
                      <a:pt x="24" y="56"/>
                    </a:lnTo>
                    <a:lnTo>
                      <a:pt x="16" y="64"/>
                    </a:lnTo>
                    <a:lnTo>
                      <a:pt x="8" y="80"/>
                    </a:lnTo>
                    <a:lnTo>
                      <a:pt x="8" y="88"/>
                    </a:lnTo>
                    <a:lnTo>
                      <a:pt x="0" y="96"/>
                    </a:lnTo>
                    <a:lnTo>
                      <a:pt x="16" y="112"/>
                    </a:lnTo>
                    <a:lnTo>
                      <a:pt x="24" y="128"/>
                    </a:lnTo>
                    <a:lnTo>
                      <a:pt x="32" y="152"/>
                    </a:lnTo>
                    <a:lnTo>
                      <a:pt x="24" y="160"/>
                    </a:lnTo>
                    <a:lnTo>
                      <a:pt x="40" y="168"/>
                    </a:lnTo>
                    <a:lnTo>
                      <a:pt x="56" y="152"/>
                    </a:lnTo>
                    <a:lnTo>
                      <a:pt x="64" y="160"/>
                    </a:lnTo>
                    <a:lnTo>
                      <a:pt x="80" y="208"/>
                    </a:lnTo>
                    <a:lnTo>
                      <a:pt x="80" y="248"/>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7" name="Freeform 186">
                <a:extLst>
                  <a:ext uri="{FF2B5EF4-FFF2-40B4-BE49-F238E27FC236}">
                    <a16:creationId xmlns:a16="http://schemas.microsoft.com/office/drawing/2014/main" id="{405F7477-7A89-4538-A7F0-741D52D6BA40}"/>
                  </a:ext>
                </a:extLst>
              </p:cNvPr>
              <p:cNvSpPr>
                <a:spLocks/>
              </p:cNvSpPr>
              <p:nvPr/>
            </p:nvSpPr>
            <p:spPr bwMode="auto">
              <a:xfrm>
                <a:off x="1829041" y="2288560"/>
                <a:ext cx="280828" cy="653691"/>
              </a:xfrm>
              <a:custGeom>
                <a:avLst/>
                <a:gdLst>
                  <a:gd name="T0" fmla="*/ 144174 w 113"/>
                  <a:gd name="T1" fmla="*/ 446738 h 249"/>
                  <a:gd name="T2" fmla="*/ 173009 w 113"/>
                  <a:gd name="T3" fmla="*/ 389094 h 249"/>
                  <a:gd name="T4" fmla="*/ 158592 w 113"/>
                  <a:gd name="T5" fmla="*/ 345861 h 249"/>
                  <a:gd name="T6" fmla="*/ 144174 w 113"/>
                  <a:gd name="T7" fmla="*/ 317040 h 249"/>
                  <a:gd name="T8" fmla="*/ 144174 w 113"/>
                  <a:gd name="T9" fmla="*/ 288218 h 249"/>
                  <a:gd name="T10" fmla="*/ 129757 w 113"/>
                  <a:gd name="T11" fmla="*/ 244985 h 249"/>
                  <a:gd name="T12" fmla="*/ 129757 w 113"/>
                  <a:gd name="T13" fmla="*/ 216163 h 249"/>
                  <a:gd name="T14" fmla="*/ 187426 w 113"/>
                  <a:gd name="T15" fmla="*/ 187342 h 249"/>
                  <a:gd name="T16" fmla="*/ 201844 w 113"/>
                  <a:gd name="T17" fmla="*/ 158520 h 249"/>
                  <a:gd name="T18" fmla="*/ 187426 w 113"/>
                  <a:gd name="T19" fmla="*/ 158520 h 249"/>
                  <a:gd name="T20" fmla="*/ 158592 w 113"/>
                  <a:gd name="T21" fmla="*/ 144109 h 249"/>
                  <a:gd name="T22" fmla="*/ 158592 w 113"/>
                  <a:gd name="T23" fmla="*/ 129698 h 249"/>
                  <a:gd name="T24" fmla="*/ 158592 w 113"/>
                  <a:gd name="T25" fmla="*/ 115287 h 249"/>
                  <a:gd name="T26" fmla="*/ 144174 w 113"/>
                  <a:gd name="T27" fmla="*/ 100876 h 249"/>
                  <a:gd name="T28" fmla="*/ 129757 w 113"/>
                  <a:gd name="T29" fmla="*/ 100876 h 249"/>
                  <a:gd name="T30" fmla="*/ 144174 w 113"/>
                  <a:gd name="T31" fmla="*/ 28822 h 249"/>
                  <a:gd name="T32" fmla="*/ 129757 w 113"/>
                  <a:gd name="T33" fmla="*/ 0 h 249"/>
                  <a:gd name="T34" fmla="*/ 115339 w 113"/>
                  <a:gd name="T35" fmla="*/ 0 h 249"/>
                  <a:gd name="T36" fmla="*/ 115339 w 113"/>
                  <a:gd name="T37" fmla="*/ 28822 h 249"/>
                  <a:gd name="T38" fmla="*/ 86504 w 113"/>
                  <a:gd name="T39" fmla="*/ 28822 h 249"/>
                  <a:gd name="T40" fmla="*/ 72087 w 113"/>
                  <a:gd name="T41" fmla="*/ 43233 h 249"/>
                  <a:gd name="T42" fmla="*/ 43252 w 113"/>
                  <a:gd name="T43" fmla="*/ 100876 h 249"/>
                  <a:gd name="T44" fmla="*/ 28835 w 113"/>
                  <a:gd name="T45" fmla="*/ 115287 h 249"/>
                  <a:gd name="T46" fmla="*/ 14417 w 113"/>
                  <a:gd name="T47" fmla="*/ 144109 h 249"/>
                  <a:gd name="T48" fmla="*/ 14417 w 113"/>
                  <a:gd name="T49" fmla="*/ 158520 h 249"/>
                  <a:gd name="T50" fmla="*/ 0 w 113"/>
                  <a:gd name="T51" fmla="*/ 172931 h 249"/>
                  <a:gd name="T52" fmla="*/ 28835 w 113"/>
                  <a:gd name="T53" fmla="*/ 201752 h 249"/>
                  <a:gd name="T54" fmla="*/ 43252 w 113"/>
                  <a:gd name="T55" fmla="*/ 230574 h 249"/>
                  <a:gd name="T56" fmla="*/ 57670 w 113"/>
                  <a:gd name="T57" fmla="*/ 273807 h 249"/>
                  <a:gd name="T58" fmla="*/ 43252 w 113"/>
                  <a:gd name="T59" fmla="*/ 288218 h 249"/>
                  <a:gd name="T60" fmla="*/ 72087 w 113"/>
                  <a:gd name="T61" fmla="*/ 302629 h 249"/>
                  <a:gd name="T62" fmla="*/ 100922 w 113"/>
                  <a:gd name="T63" fmla="*/ 273807 h 249"/>
                  <a:gd name="T64" fmla="*/ 115339 w 113"/>
                  <a:gd name="T65" fmla="*/ 288218 h 249"/>
                  <a:gd name="T66" fmla="*/ 144174 w 113"/>
                  <a:gd name="T67" fmla="*/ 374683 h 249"/>
                  <a:gd name="T68" fmla="*/ 144174 w 113"/>
                  <a:gd name="T69" fmla="*/ 446738 h 2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249"/>
                  <a:gd name="T107" fmla="*/ 113 w 113"/>
                  <a:gd name="T108" fmla="*/ 249 h 2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249">
                    <a:moveTo>
                      <a:pt x="80" y="248"/>
                    </a:moveTo>
                    <a:lnTo>
                      <a:pt x="96" y="216"/>
                    </a:lnTo>
                    <a:lnTo>
                      <a:pt x="88" y="192"/>
                    </a:lnTo>
                    <a:lnTo>
                      <a:pt x="80" y="176"/>
                    </a:lnTo>
                    <a:lnTo>
                      <a:pt x="80" y="160"/>
                    </a:lnTo>
                    <a:lnTo>
                      <a:pt x="72" y="136"/>
                    </a:lnTo>
                    <a:lnTo>
                      <a:pt x="72" y="120"/>
                    </a:lnTo>
                    <a:lnTo>
                      <a:pt x="104" y="104"/>
                    </a:lnTo>
                    <a:lnTo>
                      <a:pt x="112" y="88"/>
                    </a:lnTo>
                    <a:lnTo>
                      <a:pt x="104" y="88"/>
                    </a:lnTo>
                    <a:lnTo>
                      <a:pt x="88" y="80"/>
                    </a:lnTo>
                    <a:lnTo>
                      <a:pt x="88" y="72"/>
                    </a:lnTo>
                    <a:lnTo>
                      <a:pt x="88" y="64"/>
                    </a:lnTo>
                    <a:lnTo>
                      <a:pt x="80" y="56"/>
                    </a:lnTo>
                    <a:lnTo>
                      <a:pt x="72" y="56"/>
                    </a:lnTo>
                    <a:lnTo>
                      <a:pt x="80" y="16"/>
                    </a:lnTo>
                    <a:lnTo>
                      <a:pt x="72" y="0"/>
                    </a:lnTo>
                    <a:lnTo>
                      <a:pt x="64" y="0"/>
                    </a:lnTo>
                    <a:lnTo>
                      <a:pt x="64" y="16"/>
                    </a:lnTo>
                    <a:lnTo>
                      <a:pt x="48" y="16"/>
                    </a:lnTo>
                    <a:lnTo>
                      <a:pt x="40" y="24"/>
                    </a:lnTo>
                    <a:lnTo>
                      <a:pt x="24" y="56"/>
                    </a:lnTo>
                    <a:lnTo>
                      <a:pt x="16" y="64"/>
                    </a:lnTo>
                    <a:lnTo>
                      <a:pt x="8" y="80"/>
                    </a:lnTo>
                    <a:lnTo>
                      <a:pt x="8" y="88"/>
                    </a:lnTo>
                    <a:lnTo>
                      <a:pt x="0" y="96"/>
                    </a:lnTo>
                    <a:lnTo>
                      <a:pt x="16" y="112"/>
                    </a:lnTo>
                    <a:lnTo>
                      <a:pt x="24" y="128"/>
                    </a:lnTo>
                    <a:lnTo>
                      <a:pt x="32" y="152"/>
                    </a:lnTo>
                    <a:lnTo>
                      <a:pt x="24" y="160"/>
                    </a:lnTo>
                    <a:lnTo>
                      <a:pt x="40" y="168"/>
                    </a:lnTo>
                    <a:lnTo>
                      <a:pt x="56" y="152"/>
                    </a:lnTo>
                    <a:lnTo>
                      <a:pt x="64" y="160"/>
                    </a:lnTo>
                    <a:lnTo>
                      <a:pt x="80" y="208"/>
                    </a:lnTo>
                    <a:lnTo>
                      <a:pt x="80" y="248"/>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8" name="Freeform 187">
                <a:extLst>
                  <a:ext uri="{FF2B5EF4-FFF2-40B4-BE49-F238E27FC236}">
                    <a16:creationId xmlns:a16="http://schemas.microsoft.com/office/drawing/2014/main" id="{1663C653-4783-4AA2-850A-7EDF984C7C28}"/>
                  </a:ext>
                </a:extLst>
              </p:cNvPr>
              <p:cNvSpPr>
                <a:spLocks/>
              </p:cNvSpPr>
              <p:nvPr/>
            </p:nvSpPr>
            <p:spPr bwMode="auto">
              <a:xfrm>
                <a:off x="2007976" y="2561588"/>
                <a:ext cx="241065" cy="506677"/>
              </a:xfrm>
              <a:custGeom>
                <a:avLst/>
                <a:gdLst>
                  <a:gd name="T0" fmla="*/ 57670 w 97"/>
                  <a:gd name="T1" fmla="*/ 0 h 193"/>
                  <a:gd name="T2" fmla="*/ 57670 w 97"/>
                  <a:gd name="T3" fmla="*/ 0 h 193"/>
                  <a:gd name="T4" fmla="*/ 0 w 97"/>
                  <a:gd name="T5" fmla="*/ 28822 h 193"/>
                  <a:gd name="T6" fmla="*/ 0 w 97"/>
                  <a:gd name="T7" fmla="*/ 57644 h 193"/>
                  <a:gd name="T8" fmla="*/ 14417 w 97"/>
                  <a:gd name="T9" fmla="*/ 100876 h 193"/>
                  <a:gd name="T10" fmla="*/ 14417 w 97"/>
                  <a:gd name="T11" fmla="*/ 129698 h 193"/>
                  <a:gd name="T12" fmla="*/ 28835 w 97"/>
                  <a:gd name="T13" fmla="*/ 158520 h 193"/>
                  <a:gd name="T14" fmla="*/ 43252 w 97"/>
                  <a:gd name="T15" fmla="*/ 201753 h 193"/>
                  <a:gd name="T16" fmla="*/ 14417 w 97"/>
                  <a:gd name="T17" fmla="*/ 259396 h 193"/>
                  <a:gd name="T18" fmla="*/ 14417 w 97"/>
                  <a:gd name="T19" fmla="*/ 273807 h 193"/>
                  <a:gd name="T20" fmla="*/ 14417 w 97"/>
                  <a:gd name="T21" fmla="*/ 288218 h 193"/>
                  <a:gd name="T22" fmla="*/ 57670 w 97"/>
                  <a:gd name="T23" fmla="*/ 331451 h 193"/>
                  <a:gd name="T24" fmla="*/ 57670 w 97"/>
                  <a:gd name="T25" fmla="*/ 317040 h 193"/>
                  <a:gd name="T26" fmla="*/ 72087 w 97"/>
                  <a:gd name="T27" fmla="*/ 331451 h 193"/>
                  <a:gd name="T28" fmla="*/ 86504 w 97"/>
                  <a:gd name="T29" fmla="*/ 345862 h 193"/>
                  <a:gd name="T30" fmla="*/ 100922 w 97"/>
                  <a:gd name="T31" fmla="*/ 331451 h 193"/>
                  <a:gd name="T32" fmla="*/ 86504 w 97"/>
                  <a:gd name="T33" fmla="*/ 317040 h 193"/>
                  <a:gd name="T34" fmla="*/ 57670 w 97"/>
                  <a:gd name="T35" fmla="*/ 317040 h 193"/>
                  <a:gd name="T36" fmla="*/ 43252 w 97"/>
                  <a:gd name="T37" fmla="*/ 259396 h 193"/>
                  <a:gd name="T38" fmla="*/ 28835 w 97"/>
                  <a:gd name="T39" fmla="*/ 259396 h 193"/>
                  <a:gd name="T40" fmla="*/ 28835 w 97"/>
                  <a:gd name="T41" fmla="*/ 244985 h 193"/>
                  <a:gd name="T42" fmla="*/ 43252 w 97"/>
                  <a:gd name="T43" fmla="*/ 201753 h 193"/>
                  <a:gd name="T44" fmla="*/ 43252 w 97"/>
                  <a:gd name="T45" fmla="*/ 172931 h 193"/>
                  <a:gd name="T46" fmla="*/ 72087 w 97"/>
                  <a:gd name="T47" fmla="*/ 172931 h 193"/>
                  <a:gd name="T48" fmla="*/ 72087 w 97"/>
                  <a:gd name="T49" fmla="*/ 187342 h 193"/>
                  <a:gd name="T50" fmla="*/ 86504 w 97"/>
                  <a:gd name="T51" fmla="*/ 187342 h 193"/>
                  <a:gd name="T52" fmla="*/ 115339 w 97"/>
                  <a:gd name="T53" fmla="*/ 216164 h 193"/>
                  <a:gd name="T54" fmla="*/ 115339 w 97"/>
                  <a:gd name="T55" fmla="*/ 201753 h 193"/>
                  <a:gd name="T56" fmla="*/ 100922 w 97"/>
                  <a:gd name="T57" fmla="*/ 172931 h 193"/>
                  <a:gd name="T58" fmla="*/ 115339 w 97"/>
                  <a:gd name="T59" fmla="*/ 144109 h 193"/>
                  <a:gd name="T60" fmla="*/ 173009 w 97"/>
                  <a:gd name="T61" fmla="*/ 144109 h 193"/>
                  <a:gd name="T62" fmla="*/ 173009 w 97"/>
                  <a:gd name="T63" fmla="*/ 115287 h 193"/>
                  <a:gd name="T64" fmla="*/ 158591 w 97"/>
                  <a:gd name="T65" fmla="*/ 100876 h 193"/>
                  <a:gd name="T66" fmla="*/ 144174 w 97"/>
                  <a:gd name="T67" fmla="*/ 72055 h 193"/>
                  <a:gd name="T68" fmla="*/ 129757 w 97"/>
                  <a:gd name="T69" fmla="*/ 43233 h 193"/>
                  <a:gd name="T70" fmla="*/ 100922 w 97"/>
                  <a:gd name="T71" fmla="*/ 57644 h 193"/>
                  <a:gd name="T72" fmla="*/ 72087 w 97"/>
                  <a:gd name="T73" fmla="*/ 72055 h 193"/>
                  <a:gd name="T74" fmla="*/ 72087 w 97"/>
                  <a:gd name="T75" fmla="*/ 28822 h 193"/>
                  <a:gd name="T76" fmla="*/ 57670 w 97"/>
                  <a:gd name="T77" fmla="*/ 14411 h 193"/>
                  <a:gd name="T78" fmla="*/ 57670 w 97"/>
                  <a:gd name="T79" fmla="*/ 0 h 19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
                  <a:gd name="T121" fmla="*/ 0 h 193"/>
                  <a:gd name="T122" fmla="*/ 97 w 97"/>
                  <a:gd name="T123" fmla="*/ 193 h 19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 h="193">
                    <a:moveTo>
                      <a:pt x="32" y="0"/>
                    </a:moveTo>
                    <a:lnTo>
                      <a:pt x="32" y="0"/>
                    </a:lnTo>
                    <a:lnTo>
                      <a:pt x="0" y="16"/>
                    </a:lnTo>
                    <a:lnTo>
                      <a:pt x="0" y="32"/>
                    </a:lnTo>
                    <a:lnTo>
                      <a:pt x="8" y="56"/>
                    </a:lnTo>
                    <a:lnTo>
                      <a:pt x="8" y="72"/>
                    </a:lnTo>
                    <a:lnTo>
                      <a:pt x="16" y="88"/>
                    </a:lnTo>
                    <a:lnTo>
                      <a:pt x="24" y="112"/>
                    </a:lnTo>
                    <a:lnTo>
                      <a:pt x="8" y="144"/>
                    </a:lnTo>
                    <a:lnTo>
                      <a:pt x="8" y="152"/>
                    </a:lnTo>
                    <a:lnTo>
                      <a:pt x="8" y="160"/>
                    </a:lnTo>
                    <a:lnTo>
                      <a:pt x="32" y="184"/>
                    </a:lnTo>
                    <a:lnTo>
                      <a:pt x="32" y="176"/>
                    </a:lnTo>
                    <a:lnTo>
                      <a:pt x="40" y="184"/>
                    </a:lnTo>
                    <a:lnTo>
                      <a:pt x="48" y="192"/>
                    </a:lnTo>
                    <a:lnTo>
                      <a:pt x="56" y="184"/>
                    </a:lnTo>
                    <a:lnTo>
                      <a:pt x="48" y="176"/>
                    </a:lnTo>
                    <a:lnTo>
                      <a:pt x="32" y="176"/>
                    </a:lnTo>
                    <a:lnTo>
                      <a:pt x="24" y="144"/>
                    </a:lnTo>
                    <a:lnTo>
                      <a:pt x="16" y="144"/>
                    </a:lnTo>
                    <a:lnTo>
                      <a:pt x="16" y="136"/>
                    </a:lnTo>
                    <a:lnTo>
                      <a:pt x="24" y="112"/>
                    </a:lnTo>
                    <a:lnTo>
                      <a:pt x="24" y="96"/>
                    </a:lnTo>
                    <a:lnTo>
                      <a:pt x="40" y="96"/>
                    </a:lnTo>
                    <a:lnTo>
                      <a:pt x="40" y="104"/>
                    </a:lnTo>
                    <a:lnTo>
                      <a:pt x="48" y="104"/>
                    </a:lnTo>
                    <a:lnTo>
                      <a:pt x="64" y="120"/>
                    </a:lnTo>
                    <a:lnTo>
                      <a:pt x="64" y="112"/>
                    </a:lnTo>
                    <a:lnTo>
                      <a:pt x="56" y="96"/>
                    </a:lnTo>
                    <a:lnTo>
                      <a:pt x="64" y="80"/>
                    </a:lnTo>
                    <a:lnTo>
                      <a:pt x="96" y="80"/>
                    </a:lnTo>
                    <a:lnTo>
                      <a:pt x="96" y="64"/>
                    </a:lnTo>
                    <a:lnTo>
                      <a:pt x="88" y="56"/>
                    </a:lnTo>
                    <a:lnTo>
                      <a:pt x="80" y="40"/>
                    </a:lnTo>
                    <a:lnTo>
                      <a:pt x="72" y="24"/>
                    </a:lnTo>
                    <a:lnTo>
                      <a:pt x="56" y="32"/>
                    </a:lnTo>
                    <a:lnTo>
                      <a:pt x="40" y="40"/>
                    </a:lnTo>
                    <a:lnTo>
                      <a:pt x="40" y="16"/>
                    </a:lnTo>
                    <a:lnTo>
                      <a:pt x="32" y="8"/>
                    </a:lnTo>
                    <a:lnTo>
                      <a:pt x="32"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39" name="Freeform 188">
                <a:extLst>
                  <a:ext uri="{FF2B5EF4-FFF2-40B4-BE49-F238E27FC236}">
                    <a16:creationId xmlns:a16="http://schemas.microsoft.com/office/drawing/2014/main" id="{5E5C17A4-E44C-434D-926C-D1535D235947}"/>
                  </a:ext>
                </a:extLst>
              </p:cNvPr>
              <p:cNvSpPr>
                <a:spLocks/>
              </p:cNvSpPr>
              <p:nvPr/>
            </p:nvSpPr>
            <p:spPr bwMode="auto">
              <a:xfrm>
                <a:off x="2007976" y="2561588"/>
                <a:ext cx="241065" cy="506677"/>
              </a:xfrm>
              <a:custGeom>
                <a:avLst/>
                <a:gdLst>
                  <a:gd name="T0" fmla="*/ 57670 w 97"/>
                  <a:gd name="T1" fmla="*/ 0 h 193"/>
                  <a:gd name="T2" fmla="*/ 0 w 97"/>
                  <a:gd name="T3" fmla="*/ 28822 h 193"/>
                  <a:gd name="T4" fmla="*/ 0 w 97"/>
                  <a:gd name="T5" fmla="*/ 57644 h 193"/>
                  <a:gd name="T6" fmla="*/ 14417 w 97"/>
                  <a:gd name="T7" fmla="*/ 100876 h 193"/>
                  <a:gd name="T8" fmla="*/ 14417 w 97"/>
                  <a:gd name="T9" fmla="*/ 129698 h 193"/>
                  <a:gd name="T10" fmla="*/ 28835 w 97"/>
                  <a:gd name="T11" fmla="*/ 158520 h 193"/>
                  <a:gd name="T12" fmla="*/ 43252 w 97"/>
                  <a:gd name="T13" fmla="*/ 201753 h 193"/>
                  <a:gd name="T14" fmla="*/ 14417 w 97"/>
                  <a:gd name="T15" fmla="*/ 259396 h 193"/>
                  <a:gd name="T16" fmla="*/ 14417 w 97"/>
                  <a:gd name="T17" fmla="*/ 273807 h 193"/>
                  <a:gd name="T18" fmla="*/ 14417 w 97"/>
                  <a:gd name="T19" fmla="*/ 288218 h 193"/>
                  <a:gd name="T20" fmla="*/ 57670 w 97"/>
                  <a:gd name="T21" fmla="*/ 331451 h 193"/>
                  <a:gd name="T22" fmla="*/ 57670 w 97"/>
                  <a:gd name="T23" fmla="*/ 317040 h 193"/>
                  <a:gd name="T24" fmla="*/ 72087 w 97"/>
                  <a:gd name="T25" fmla="*/ 331451 h 193"/>
                  <a:gd name="T26" fmla="*/ 86504 w 97"/>
                  <a:gd name="T27" fmla="*/ 345862 h 193"/>
                  <a:gd name="T28" fmla="*/ 100922 w 97"/>
                  <a:gd name="T29" fmla="*/ 331451 h 193"/>
                  <a:gd name="T30" fmla="*/ 86504 w 97"/>
                  <a:gd name="T31" fmla="*/ 317040 h 193"/>
                  <a:gd name="T32" fmla="*/ 57670 w 97"/>
                  <a:gd name="T33" fmla="*/ 317040 h 193"/>
                  <a:gd name="T34" fmla="*/ 43252 w 97"/>
                  <a:gd name="T35" fmla="*/ 259396 h 193"/>
                  <a:gd name="T36" fmla="*/ 28835 w 97"/>
                  <a:gd name="T37" fmla="*/ 259396 h 193"/>
                  <a:gd name="T38" fmla="*/ 28835 w 97"/>
                  <a:gd name="T39" fmla="*/ 244985 h 193"/>
                  <a:gd name="T40" fmla="*/ 43252 w 97"/>
                  <a:gd name="T41" fmla="*/ 201753 h 193"/>
                  <a:gd name="T42" fmla="*/ 43252 w 97"/>
                  <a:gd name="T43" fmla="*/ 172931 h 193"/>
                  <a:gd name="T44" fmla="*/ 72087 w 97"/>
                  <a:gd name="T45" fmla="*/ 172931 h 193"/>
                  <a:gd name="T46" fmla="*/ 72087 w 97"/>
                  <a:gd name="T47" fmla="*/ 187342 h 193"/>
                  <a:gd name="T48" fmla="*/ 86504 w 97"/>
                  <a:gd name="T49" fmla="*/ 187342 h 193"/>
                  <a:gd name="T50" fmla="*/ 115339 w 97"/>
                  <a:gd name="T51" fmla="*/ 216164 h 193"/>
                  <a:gd name="T52" fmla="*/ 115339 w 97"/>
                  <a:gd name="T53" fmla="*/ 201753 h 193"/>
                  <a:gd name="T54" fmla="*/ 100922 w 97"/>
                  <a:gd name="T55" fmla="*/ 172931 h 193"/>
                  <a:gd name="T56" fmla="*/ 115339 w 97"/>
                  <a:gd name="T57" fmla="*/ 144109 h 193"/>
                  <a:gd name="T58" fmla="*/ 173009 w 97"/>
                  <a:gd name="T59" fmla="*/ 144109 h 193"/>
                  <a:gd name="T60" fmla="*/ 173009 w 97"/>
                  <a:gd name="T61" fmla="*/ 115287 h 193"/>
                  <a:gd name="T62" fmla="*/ 158591 w 97"/>
                  <a:gd name="T63" fmla="*/ 100876 h 193"/>
                  <a:gd name="T64" fmla="*/ 144174 w 97"/>
                  <a:gd name="T65" fmla="*/ 72055 h 193"/>
                  <a:gd name="T66" fmla="*/ 129757 w 97"/>
                  <a:gd name="T67" fmla="*/ 43233 h 193"/>
                  <a:gd name="T68" fmla="*/ 100922 w 97"/>
                  <a:gd name="T69" fmla="*/ 57644 h 193"/>
                  <a:gd name="T70" fmla="*/ 72087 w 97"/>
                  <a:gd name="T71" fmla="*/ 72055 h 193"/>
                  <a:gd name="T72" fmla="*/ 72087 w 97"/>
                  <a:gd name="T73" fmla="*/ 28822 h 193"/>
                  <a:gd name="T74" fmla="*/ 57670 w 97"/>
                  <a:gd name="T75" fmla="*/ 14411 h 193"/>
                  <a:gd name="T76" fmla="*/ 57670 w 97"/>
                  <a:gd name="T77" fmla="*/ 0 h 19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7"/>
                  <a:gd name="T118" fmla="*/ 0 h 193"/>
                  <a:gd name="T119" fmla="*/ 97 w 97"/>
                  <a:gd name="T120" fmla="*/ 193 h 19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7" h="193">
                    <a:moveTo>
                      <a:pt x="32" y="0"/>
                    </a:moveTo>
                    <a:lnTo>
                      <a:pt x="0" y="16"/>
                    </a:lnTo>
                    <a:lnTo>
                      <a:pt x="0" y="32"/>
                    </a:lnTo>
                    <a:lnTo>
                      <a:pt x="8" y="56"/>
                    </a:lnTo>
                    <a:lnTo>
                      <a:pt x="8" y="72"/>
                    </a:lnTo>
                    <a:lnTo>
                      <a:pt x="16" y="88"/>
                    </a:lnTo>
                    <a:lnTo>
                      <a:pt x="24" y="112"/>
                    </a:lnTo>
                    <a:lnTo>
                      <a:pt x="8" y="144"/>
                    </a:lnTo>
                    <a:lnTo>
                      <a:pt x="8" y="152"/>
                    </a:lnTo>
                    <a:lnTo>
                      <a:pt x="8" y="160"/>
                    </a:lnTo>
                    <a:lnTo>
                      <a:pt x="32" y="184"/>
                    </a:lnTo>
                    <a:lnTo>
                      <a:pt x="32" y="176"/>
                    </a:lnTo>
                    <a:lnTo>
                      <a:pt x="40" y="184"/>
                    </a:lnTo>
                    <a:lnTo>
                      <a:pt x="48" y="192"/>
                    </a:lnTo>
                    <a:lnTo>
                      <a:pt x="56" y="184"/>
                    </a:lnTo>
                    <a:lnTo>
                      <a:pt x="48" y="176"/>
                    </a:lnTo>
                    <a:lnTo>
                      <a:pt x="32" y="176"/>
                    </a:lnTo>
                    <a:lnTo>
                      <a:pt x="24" y="144"/>
                    </a:lnTo>
                    <a:lnTo>
                      <a:pt x="16" y="144"/>
                    </a:lnTo>
                    <a:lnTo>
                      <a:pt x="16" y="136"/>
                    </a:lnTo>
                    <a:lnTo>
                      <a:pt x="24" y="112"/>
                    </a:lnTo>
                    <a:lnTo>
                      <a:pt x="24" y="96"/>
                    </a:lnTo>
                    <a:lnTo>
                      <a:pt x="40" y="96"/>
                    </a:lnTo>
                    <a:lnTo>
                      <a:pt x="40" y="104"/>
                    </a:lnTo>
                    <a:lnTo>
                      <a:pt x="48" y="104"/>
                    </a:lnTo>
                    <a:lnTo>
                      <a:pt x="64" y="120"/>
                    </a:lnTo>
                    <a:lnTo>
                      <a:pt x="64" y="112"/>
                    </a:lnTo>
                    <a:lnTo>
                      <a:pt x="56" y="96"/>
                    </a:lnTo>
                    <a:lnTo>
                      <a:pt x="64" y="80"/>
                    </a:lnTo>
                    <a:lnTo>
                      <a:pt x="96" y="80"/>
                    </a:lnTo>
                    <a:lnTo>
                      <a:pt x="96" y="64"/>
                    </a:lnTo>
                    <a:lnTo>
                      <a:pt x="88" y="56"/>
                    </a:lnTo>
                    <a:lnTo>
                      <a:pt x="80" y="40"/>
                    </a:lnTo>
                    <a:lnTo>
                      <a:pt x="72" y="24"/>
                    </a:lnTo>
                    <a:lnTo>
                      <a:pt x="56" y="32"/>
                    </a:lnTo>
                    <a:lnTo>
                      <a:pt x="40" y="40"/>
                    </a:lnTo>
                    <a:lnTo>
                      <a:pt x="40" y="16"/>
                    </a:lnTo>
                    <a:lnTo>
                      <a:pt x="32" y="8"/>
                    </a:lnTo>
                    <a:lnTo>
                      <a:pt x="32" y="0"/>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0" name="Freeform 189">
                <a:extLst>
                  <a:ext uri="{FF2B5EF4-FFF2-40B4-BE49-F238E27FC236}">
                    <a16:creationId xmlns:a16="http://schemas.microsoft.com/office/drawing/2014/main" id="{3C9D3A9F-0A28-4A23-8A2C-0EE725A2750A}"/>
                  </a:ext>
                </a:extLst>
              </p:cNvPr>
              <p:cNvSpPr>
                <a:spLocks/>
              </p:cNvSpPr>
              <p:nvPr/>
            </p:nvSpPr>
            <p:spPr bwMode="auto">
              <a:xfrm>
                <a:off x="2087503" y="2498583"/>
                <a:ext cx="221184" cy="296655"/>
              </a:xfrm>
              <a:custGeom>
                <a:avLst/>
                <a:gdLst>
                  <a:gd name="T0" fmla="*/ 158592 w 89"/>
                  <a:gd name="T1" fmla="*/ 187342 h 113"/>
                  <a:gd name="T2" fmla="*/ 158592 w 89"/>
                  <a:gd name="T3" fmla="*/ 187342 h 113"/>
                  <a:gd name="T4" fmla="*/ 158592 w 89"/>
                  <a:gd name="T5" fmla="*/ 158520 h 113"/>
                  <a:gd name="T6" fmla="*/ 129757 w 89"/>
                  <a:gd name="T7" fmla="*/ 129698 h 113"/>
                  <a:gd name="T8" fmla="*/ 129757 w 89"/>
                  <a:gd name="T9" fmla="*/ 115287 h 113"/>
                  <a:gd name="T10" fmla="*/ 72087 w 89"/>
                  <a:gd name="T11" fmla="*/ 72055 h 113"/>
                  <a:gd name="T12" fmla="*/ 100922 w 89"/>
                  <a:gd name="T13" fmla="*/ 57644 h 113"/>
                  <a:gd name="T14" fmla="*/ 86505 w 89"/>
                  <a:gd name="T15" fmla="*/ 43233 h 113"/>
                  <a:gd name="T16" fmla="*/ 57670 w 89"/>
                  <a:gd name="T17" fmla="*/ 28822 h 113"/>
                  <a:gd name="T18" fmla="*/ 43252 w 89"/>
                  <a:gd name="T19" fmla="*/ 0 h 113"/>
                  <a:gd name="T20" fmla="*/ 28835 w 89"/>
                  <a:gd name="T21" fmla="*/ 0 h 113"/>
                  <a:gd name="T22" fmla="*/ 28835 w 89"/>
                  <a:gd name="T23" fmla="*/ 28822 h 113"/>
                  <a:gd name="T24" fmla="*/ 14417 w 89"/>
                  <a:gd name="T25" fmla="*/ 28822 h 113"/>
                  <a:gd name="T26" fmla="*/ 14417 w 89"/>
                  <a:gd name="T27" fmla="*/ 14411 h 113"/>
                  <a:gd name="T28" fmla="*/ 0 w 89"/>
                  <a:gd name="T29" fmla="*/ 43233 h 113"/>
                  <a:gd name="T30" fmla="*/ 0 w 89"/>
                  <a:gd name="T31" fmla="*/ 57644 h 113"/>
                  <a:gd name="T32" fmla="*/ 14417 w 89"/>
                  <a:gd name="T33" fmla="*/ 72055 h 113"/>
                  <a:gd name="T34" fmla="*/ 14417 w 89"/>
                  <a:gd name="T35" fmla="*/ 115287 h 113"/>
                  <a:gd name="T36" fmla="*/ 43252 w 89"/>
                  <a:gd name="T37" fmla="*/ 100876 h 113"/>
                  <a:gd name="T38" fmla="*/ 72087 w 89"/>
                  <a:gd name="T39" fmla="*/ 86465 h 113"/>
                  <a:gd name="T40" fmla="*/ 86505 w 89"/>
                  <a:gd name="T41" fmla="*/ 115287 h 113"/>
                  <a:gd name="T42" fmla="*/ 100922 w 89"/>
                  <a:gd name="T43" fmla="*/ 144109 h 113"/>
                  <a:gd name="T44" fmla="*/ 115340 w 89"/>
                  <a:gd name="T45" fmla="*/ 158520 h 113"/>
                  <a:gd name="T46" fmla="*/ 115340 w 89"/>
                  <a:gd name="T47" fmla="*/ 187342 h 113"/>
                  <a:gd name="T48" fmla="*/ 129757 w 89"/>
                  <a:gd name="T49" fmla="*/ 201753 h 113"/>
                  <a:gd name="T50" fmla="*/ 129757 w 89"/>
                  <a:gd name="T51" fmla="*/ 187342 h 113"/>
                  <a:gd name="T52" fmla="*/ 158592 w 89"/>
                  <a:gd name="T53" fmla="*/ 187342 h 11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9"/>
                  <a:gd name="T82" fmla="*/ 0 h 113"/>
                  <a:gd name="T83" fmla="*/ 89 w 89"/>
                  <a:gd name="T84" fmla="*/ 113 h 11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9" h="113">
                    <a:moveTo>
                      <a:pt x="88" y="104"/>
                    </a:moveTo>
                    <a:lnTo>
                      <a:pt x="88" y="104"/>
                    </a:lnTo>
                    <a:lnTo>
                      <a:pt x="88" y="88"/>
                    </a:lnTo>
                    <a:lnTo>
                      <a:pt x="72" y="72"/>
                    </a:lnTo>
                    <a:lnTo>
                      <a:pt x="72" y="64"/>
                    </a:lnTo>
                    <a:lnTo>
                      <a:pt x="40" y="40"/>
                    </a:lnTo>
                    <a:lnTo>
                      <a:pt x="56" y="32"/>
                    </a:lnTo>
                    <a:lnTo>
                      <a:pt x="48" y="24"/>
                    </a:lnTo>
                    <a:lnTo>
                      <a:pt x="32" y="16"/>
                    </a:lnTo>
                    <a:lnTo>
                      <a:pt x="24" y="0"/>
                    </a:lnTo>
                    <a:lnTo>
                      <a:pt x="16" y="0"/>
                    </a:lnTo>
                    <a:lnTo>
                      <a:pt x="16" y="16"/>
                    </a:lnTo>
                    <a:lnTo>
                      <a:pt x="8" y="16"/>
                    </a:lnTo>
                    <a:lnTo>
                      <a:pt x="8" y="8"/>
                    </a:lnTo>
                    <a:lnTo>
                      <a:pt x="0" y="24"/>
                    </a:lnTo>
                    <a:lnTo>
                      <a:pt x="0" y="32"/>
                    </a:lnTo>
                    <a:lnTo>
                      <a:pt x="8" y="40"/>
                    </a:lnTo>
                    <a:lnTo>
                      <a:pt x="8" y="64"/>
                    </a:lnTo>
                    <a:lnTo>
                      <a:pt x="24" y="56"/>
                    </a:lnTo>
                    <a:lnTo>
                      <a:pt x="40" y="48"/>
                    </a:lnTo>
                    <a:lnTo>
                      <a:pt x="48" y="64"/>
                    </a:lnTo>
                    <a:lnTo>
                      <a:pt x="56" y="80"/>
                    </a:lnTo>
                    <a:lnTo>
                      <a:pt x="64" y="88"/>
                    </a:lnTo>
                    <a:lnTo>
                      <a:pt x="64" y="104"/>
                    </a:lnTo>
                    <a:lnTo>
                      <a:pt x="72" y="112"/>
                    </a:lnTo>
                    <a:lnTo>
                      <a:pt x="72" y="104"/>
                    </a:lnTo>
                    <a:lnTo>
                      <a:pt x="88" y="104"/>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1" name="Freeform 190">
                <a:extLst>
                  <a:ext uri="{FF2B5EF4-FFF2-40B4-BE49-F238E27FC236}">
                    <a16:creationId xmlns:a16="http://schemas.microsoft.com/office/drawing/2014/main" id="{53406476-B69B-4D3A-AA61-E5B58B4EC22A}"/>
                  </a:ext>
                </a:extLst>
              </p:cNvPr>
              <p:cNvSpPr>
                <a:spLocks/>
              </p:cNvSpPr>
              <p:nvPr/>
            </p:nvSpPr>
            <p:spPr bwMode="auto">
              <a:xfrm>
                <a:off x="2087503" y="2498583"/>
                <a:ext cx="221184" cy="296655"/>
              </a:xfrm>
              <a:custGeom>
                <a:avLst/>
                <a:gdLst>
                  <a:gd name="T0" fmla="*/ 158592 w 89"/>
                  <a:gd name="T1" fmla="*/ 187342 h 113"/>
                  <a:gd name="T2" fmla="*/ 158592 w 89"/>
                  <a:gd name="T3" fmla="*/ 158520 h 113"/>
                  <a:gd name="T4" fmla="*/ 129757 w 89"/>
                  <a:gd name="T5" fmla="*/ 129698 h 113"/>
                  <a:gd name="T6" fmla="*/ 129757 w 89"/>
                  <a:gd name="T7" fmla="*/ 115287 h 113"/>
                  <a:gd name="T8" fmla="*/ 72087 w 89"/>
                  <a:gd name="T9" fmla="*/ 72055 h 113"/>
                  <a:gd name="T10" fmla="*/ 100922 w 89"/>
                  <a:gd name="T11" fmla="*/ 57644 h 113"/>
                  <a:gd name="T12" fmla="*/ 86505 w 89"/>
                  <a:gd name="T13" fmla="*/ 43233 h 113"/>
                  <a:gd name="T14" fmla="*/ 57670 w 89"/>
                  <a:gd name="T15" fmla="*/ 28822 h 113"/>
                  <a:gd name="T16" fmla="*/ 43252 w 89"/>
                  <a:gd name="T17" fmla="*/ 0 h 113"/>
                  <a:gd name="T18" fmla="*/ 28835 w 89"/>
                  <a:gd name="T19" fmla="*/ 0 h 113"/>
                  <a:gd name="T20" fmla="*/ 28835 w 89"/>
                  <a:gd name="T21" fmla="*/ 28822 h 113"/>
                  <a:gd name="T22" fmla="*/ 14417 w 89"/>
                  <a:gd name="T23" fmla="*/ 28822 h 113"/>
                  <a:gd name="T24" fmla="*/ 14417 w 89"/>
                  <a:gd name="T25" fmla="*/ 14411 h 113"/>
                  <a:gd name="T26" fmla="*/ 0 w 89"/>
                  <a:gd name="T27" fmla="*/ 43233 h 113"/>
                  <a:gd name="T28" fmla="*/ 0 w 89"/>
                  <a:gd name="T29" fmla="*/ 57644 h 113"/>
                  <a:gd name="T30" fmla="*/ 14417 w 89"/>
                  <a:gd name="T31" fmla="*/ 72055 h 113"/>
                  <a:gd name="T32" fmla="*/ 14417 w 89"/>
                  <a:gd name="T33" fmla="*/ 115287 h 113"/>
                  <a:gd name="T34" fmla="*/ 43252 w 89"/>
                  <a:gd name="T35" fmla="*/ 100876 h 113"/>
                  <a:gd name="T36" fmla="*/ 72087 w 89"/>
                  <a:gd name="T37" fmla="*/ 86465 h 113"/>
                  <a:gd name="T38" fmla="*/ 86505 w 89"/>
                  <a:gd name="T39" fmla="*/ 115287 h 113"/>
                  <a:gd name="T40" fmla="*/ 100922 w 89"/>
                  <a:gd name="T41" fmla="*/ 144109 h 113"/>
                  <a:gd name="T42" fmla="*/ 115340 w 89"/>
                  <a:gd name="T43" fmla="*/ 158520 h 113"/>
                  <a:gd name="T44" fmla="*/ 115340 w 89"/>
                  <a:gd name="T45" fmla="*/ 187342 h 113"/>
                  <a:gd name="T46" fmla="*/ 129757 w 89"/>
                  <a:gd name="T47" fmla="*/ 201753 h 113"/>
                  <a:gd name="T48" fmla="*/ 129757 w 89"/>
                  <a:gd name="T49" fmla="*/ 187342 h 113"/>
                  <a:gd name="T50" fmla="*/ 158592 w 89"/>
                  <a:gd name="T51" fmla="*/ 187342 h 1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9"/>
                  <a:gd name="T79" fmla="*/ 0 h 113"/>
                  <a:gd name="T80" fmla="*/ 89 w 89"/>
                  <a:gd name="T81" fmla="*/ 113 h 11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9" h="113">
                    <a:moveTo>
                      <a:pt x="88" y="104"/>
                    </a:moveTo>
                    <a:lnTo>
                      <a:pt x="88" y="88"/>
                    </a:lnTo>
                    <a:lnTo>
                      <a:pt x="72" y="72"/>
                    </a:lnTo>
                    <a:lnTo>
                      <a:pt x="72" y="64"/>
                    </a:lnTo>
                    <a:lnTo>
                      <a:pt x="40" y="40"/>
                    </a:lnTo>
                    <a:lnTo>
                      <a:pt x="56" y="32"/>
                    </a:lnTo>
                    <a:lnTo>
                      <a:pt x="48" y="24"/>
                    </a:lnTo>
                    <a:lnTo>
                      <a:pt x="32" y="16"/>
                    </a:lnTo>
                    <a:lnTo>
                      <a:pt x="24" y="0"/>
                    </a:lnTo>
                    <a:lnTo>
                      <a:pt x="16" y="0"/>
                    </a:lnTo>
                    <a:lnTo>
                      <a:pt x="16" y="16"/>
                    </a:lnTo>
                    <a:lnTo>
                      <a:pt x="8" y="16"/>
                    </a:lnTo>
                    <a:lnTo>
                      <a:pt x="8" y="8"/>
                    </a:lnTo>
                    <a:lnTo>
                      <a:pt x="0" y="24"/>
                    </a:lnTo>
                    <a:lnTo>
                      <a:pt x="0" y="32"/>
                    </a:lnTo>
                    <a:lnTo>
                      <a:pt x="8" y="40"/>
                    </a:lnTo>
                    <a:lnTo>
                      <a:pt x="8" y="64"/>
                    </a:lnTo>
                    <a:lnTo>
                      <a:pt x="24" y="56"/>
                    </a:lnTo>
                    <a:lnTo>
                      <a:pt x="40" y="48"/>
                    </a:lnTo>
                    <a:lnTo>
                      <a:pt x="48" y="64"/>
                    </a:lnTo>
                    <a:lnTo>
                      <a:pt x="56" y="80"/>
                    </a:lnTo>
                    <a:lnTo>
                      <a:pt x="64" y="88"/>
                    </a:lnTo>
                    <a:lnTo>
                      <a:pt x="64" y="104"/>
                    </a:lnTo>
                    <a:lnTo>
                      <a:pt x="72" y="112"/>
                    </a:lnTo>
                    <a:lnTo>
                      <a:pt x="72" y="104"/>
                    </a:lnTo>
                    <a:lnTo>
                      <a:pt x="88" y="104"/>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2" name="Freeform 191">
                <a:extLst>
                  <a:ext uri="{FF2B5EF4-FFF2-40B4-BE49-F238E27FC236}">
                    <a16:creationId xmlns:a16="http://schemas.microsoft.com/office/drawing/2014/main" id="{E2510A6B-1DA2-4DF6-AD83-A0077673B5DB}"/>
                  </a:ext>
                </a:extLst>
              </p:cNvPr>
              <p:cNvSpPr>
                <a:spLocks/>
              </p:cNvSpPr>
              <p:nvPr/>
            </p:nvSpPr>
            <p:spPr bwMode="auto">
              <a:xfrm>
                <a:off x="2147146" y="2477581"/>
                <a:ext cx="221184" cy="485675"/>
              </a:xfrm>
              <a:custGeom>
                <a:avLst/>
                <a:gdLst>
                  <a:gd name="T0" fmla="*/ 0 w 89"/>
                  <a:gd name="T1" fmla="*/ 14411 h 185"/>
                  <a:gd name="T2" fmla="*/ 0 w 89"/>
                  <a:gd name="T3" fmla="*/ 14411 h 185"/>
                  <a:gd name="T4" fmla="*/ 0 w 89"/>
                  <a:gd name="T5" fmla="*/ 0 h 185"/>
                  <a:gd name="T6" fmla="*/ 14417 w 89"/>
                  <a:gd name="T7" fmla="*/ 14411 h 185"/>
                  <a:gd name="T8" fmla="*/ 72087 w 89"/>
                  <a:gd name="T9" fmla="*/ 0 h 185"/>
                  <a:gd name="T10" fmla="*/ 100922 w 89"/>
                  <a:gd name="T11" fmla="*/ 0 h 185"/>
                  <a:gd name="T12" fmla="*/ 100922 w 89"/>
                  <a:gd name="T13" fmla="*/ 28822 h 185"/>
                  <a:gd name="T14" fmla="*/ 129757 w 89"/>
                  <a:gd name="T15" fmla="*/ 28822 h 185"/>
                  <a:gd name="T16" fmla="*/ 100922 w 89"/>
                  <a:gd name="T17" fmla="*/ 43233 h 185"/>
                  <a:gd name="T18" fmla="*/ 86505 w 89"/>
                  <a:gd name="T19" fmla="*/ 72054 h 185"/>
                  <a:gd name="T20" fmla="*/ 72087 w 89"/>
                  <a:gd name="T21" fmla="*/ 86465 h 185"/>
                  <a:gd name="T22" fmla="*/ 144174 w 89"/>
                  <a:gd name="T23" fmla="*/ 187342 h 185"/>
                  <a:gd name="T24" fmla="*/ 158592 w 89"/>
                  <a:gd name="T25" fmla="*/ 216163 h 185"/>
                  <a:gd name="T26" fmla="*/ 144174 w 89"/>
                  <a:gd name="T27" fmla="*/ 273807 h 185"/>
                  <a:gd name="T28" fmla="*/ 115340 w 89"/>
                  <a:gd name="T29" fmla="*/ 288218 h 185"/>
                  <a:gd name="T30" fmla="*/ 100922 w 89"/>
                  <a:gd name="T31" fmla="*/ 288218 h 185"/>
                  <a:gd name="T32" fmla="*/ 86505 w 89"/>
                  <a:gd name="T33" fmla="*/ 317040 h 185"/>
                  <a:gd name="T34" fmla="*/ 57670 w 89"/>
                  <a:gd name="T35" fmla="*/ 331451 h 185"/>
                  <a:gd name="T36" fmla="*/ 57670 w 89"/>
                  <a:gd name="T37" fmla="*/ 302629 h 185"/>
                  <a:gd name="T38" fmla="*/ 43252 w 89"/>
                  <a:gd name="T39" fmla="*/ 288218 h 185"/>
                  <a:gd name="T40" fmla="*/ 72087 w 89"/>
                  <a:gd name="T41" fmla="*/ 273807 h 185"/>
                  <a:gd name="T42" fmla="*/ 86505 w 89"/>
                  <a:gd name="T43" fmla="*/ 259396 h 185"/>
                  <a:gd name="T44" fmla="*/ 115340 w 89"/>
                  <a:gd name="T45" fmla="*/ 244985 h 185"/>
                  <a:gd name="T46" fmla="*/ 115340 w 89"/>
                  <a:gd name="T47" fmla="*/ 201753 h 185"/>
                  <a:gd name="T48" fmla="*/ 115340 w 89"/>
                  <a:gd name="T49" fmla="*/ 172931 h 185"/>
                  <a:gd name="T50" fmla="*/ 86505 w 89"/>
                  <a:gd name="T51" fmla="*/ 144109 h 185"/>
                  <a:gd name="T52" fmla="*/ 86505 w 89"/>
                  <a:gd name="T53" fmla="*/ 129698 h 185"/>
                  <a:gd name="T54" fmla="*/ 28835 w 89"/>
                  <a:gd name="T55" fmla="*/ 86465 h 185"/>
                  <a:gd name="T56" fmla="*/ 57670 w 89"/>
                  <a:gd name="T57" fmla="*/ 72054 h 185"/>
                  <a:gd name="T58" fmla="*/ 43252 w 89"/>
                  <a:gd name="T59" fmla="*/ 57644 h 185"/>
                  <a:gd name="T60" fmla="*/ 14417 w 89"/>
                  <a:gd name="T61" fmla="*/ 43233 h 185"/>
                  <a:gd name="T62" fmla="*/ 0 w 89"/>
                  <a:gd name="T63" fmla="*/ 14411 h 1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9"/>
                  <a:gd name="T97" fmla="*/ 0 h 185"/>
                  <a:gd name="T98" fmla="*/ 89 w 89"/>
                  <a:gd name="T99" fmla="*/ 185 h 18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9" h="185">
                    <a:moveTo>
                      <a:pt x="0" y="8"/>
                    </a:moveTo>
                    <a:lnTo>
                      <a:pt x="0" y="8"/>
                    </a:lnTo>
                    <a:lnTo>
                      <a:pt x="0" y="0"/>
                    </a:lnTo>
                    <a:lnTo>
                      <a:pt x="8" y="8"/>
                    </a:lnTo>
                    <a:lnTo>
                      <a:pt x="40" y="0"/>
                    </a:lnTo>
                    <a:lnTo>
                      <a:pt x="56" y="0"/>
                    </a:lnTo>
                    <a:lnTo>
                      <a:pt x="56" y="16"/>
                    </a:lnTo>
                    <a:lnTo>
                      <a:pt x="72" y="16"/>
                    </a:lnTo>
                    <a:lnTo>
                      <a:pt x="56" y="24"/>
                    </a:lnTo>
                    <a:lnTo>
                      <a:pt x="48" y="40"/>
                    </a:lnTo>
                    <a:lnTo>
                      <a:pt x="40" y="48"/>
                    </a:lnTo>
                    <a:lnTo>
                      <a:pt x="80" y="104"/>
                    </a:lnTo>
                    <a:lnTo>
                      <a:pt x="88" y="120"/>
                    </a:lnTo>
                    <a:lnTo>
                      <a:pt x="80" y="152"/>
                    </a:lnTo>
                    <a:lnTo>
                      <a:pt x="64" y="160"/>
                    </a:lnTo>
                    <a:lnTo>
                      <a:pt x="56" y="160"/>
                    </a:lnTo>
                    <a:lnTo>
                      <a:pt x="48" y="176"/>
                    </a:lnTo>
                    <a:lnTo>
                      <a:pt x="32" y="184"/>
                    </a:lnTo>
                    <a:lnTo>
                      <a:pt x="32" y="168"/>
                    </a:lnTo>
                    <a:lnTo>
                      <a:pt x="24" y="160"/>
                    </a:lnTo>
                    <a:lnTo>
                      <a:pt x="40" y="152"/>
                    </a:lnTo>
                    <a:lnTo>
                      <a:pt x="48" y="144"/>
                    </a:lnTo>
                    <a:lnTo>
                      <a:pt x="64" y="136"/>
                    </a:lnTo>
                    <a:lnTo>
                      <a:pt x="64" y="112"/>
                    </a:lnTo>
                    <a:lnTo>
                      <a:pt x="64" y="96"/>
                    </a:lnTo>
                    <a:lnTo>
                      <a:pt x="48" y="80"/>
                    </a:lnTo>
                    <a:lnTo>
                      <a:pt x="48" y="72"/>
                    </a:lnTo>
                    <a:lnTo>
                      <a:pt x="16" y="48"/>
                    </a:lnTo>
                    <a:lnTo>
                      <a:pt x="32" y="40"/>
                    </a:lnTo>
                    <a:lnTo>
                      <a:pt x="24" y="32"/>
                    </a:lnTo>
                    <a:lnTo>
                      <a:pt x="8" y="24"/>
                    </a:lnTo>
                    <a:lnTo>
                      <a:pt x="0" y="8"/>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3" name="Freeform 192">
                <a:extLst>
                  <a:ext uri="{FF2B5EF4-FFF2-40B4-BE49-F238E27FC236}">
                    <a16:creationId xmlns:a16="http://schemas.microsoft.com/office/drawing/2014/main" id="{07B6A31F-3694-4A68-802C-F69E2F6175A8}"/>
                  </a:ext>
                </a:extLst>
              </p:cNvPr>
              <p:cNvSpPr>
                <a:spLocks/>
              </p:cNvSpPr>
              <p:nvPr/>
            </p:nvSpPr>
            <p:spPr bwMode="auto">
              <a:xfrm>
                <a:off x="2147146" y="2477581"/>
                <a:ext cx="221184" cy="485675"/>
              </a:xfrm>
              <a:custGeom>
                <a:avLst/>
                <a:gdLst>
                  <a:gd name="T0" fmla="*/ 0 w 89"/>
                  <a:gd name="T1" fmla="*/ 14411 h 185"/>
                  <a:gd name="T2" fmla="*/ 0 w 89"/>
                  <a:gd name="T3" fmla="*/ 0 h 185"/>
                  <a:gd name="T4" fmla="*/ 14417 w 89"/>
                  <a:gd name="T5" fmla="*/ 14411 h 185"/>
                  <a:gd name="T6" fmla="*/ 72087 w 89"/>
                  <a:gd name="T7" fmla="*/ 0 h 185"/>
                  <a:gd name="T8" fmla="*/ 100922 w 89"/>
                  <a:gd name="T9" fmla="*/ 0 h 185"/>
                  <a:gd name="T10" fmla="*/ 100922 w 89"/>
                  <a:gd name="T11" fmla="*/ 28822 h 185"/>
                  <a:gd name="T12" fmla="*/ 129757 w 89"/>
                  <a:gd name="T13" fmla="*/ 28822 h 185"/>
                  <a:gd name="T14" fmla="*/ 100922 w 89"/>
                  <a:gd name="T15" fmla="*/ 43233 h 185"/>
                  <a:gd name="T16" fmla="*/ 86505 w 89"/>
                  <a:gd name="T17" fmla="*/ 72054 h 185"/>
                  <a:gd name="T18" fmla="*/ 72087 w 89"/>
                  <a:gd name="T19" fmla="*/ 86465 h 185"/>
                  <a:gd name="T20" fmla="*/ 144174 w 89"/>
                  <a:gd name="T21" fmla="*/ 187342 h 185"/>
                  <a:gd name="T22" fmla="*/ 158592 w 89"/>
                  <a:gd name="T23" fmla="*/ 216163 h 185"/>
                  <a:gd name="T24" fmla="*/ 144174 w 89"/>
                  <a:gd name="T25" fmla="*/ 273807 h 185"/>
                  <a:gd name="T26" fmla="*/ 115340 w 89"/>
                  <a:gd name="T27" fmla="*/ 288218 h 185"/>
                  <a:gd name="T28" fmla="*/ 100922 w 89"/>
                  <a:gd name="T29" fmla="*/ 288218 h 185"/>
                  <a:gd name="T30" fmla="*/ 86505 w 89"/>
                  <a:gd name="T31" fmla="*/ 317040 h 185"/>
                  <a:gd name="T32" fmla="*/ 57670 w 89"/>
                  <a:gd name="T33" fmla="*/ 331451 h 185"/>
                  <a:gd name="T34" fmla="*/ 57670 w 89"/>
                  <a:gd name="T35" fmla="*/ 302629 h 185"/>
                  <a:gd name="T36" fmla="*/ 43252 w 89"/>
                  <a:gd name="T37" fmla="*/ 288218 h 185"/>
                  <a:gd name="T38" fmla="*/ 72087 w 89"/>
                  <a:gd name="T39" fmla="*/ 273807 h 185"/>
                  <a:gd name="T40" fmla="*/ 86505 w 89"/>
                  <a:gd name="T41" fmla="*/ 259396 h 185"/>
                  <a:gd name="T42" fmla="*/ 115340 w 89"/>
                  <a:gd name="T43" fmla="*/ 244985 h 185"/>
                  <a:gd name="T44" fmla="*/ 115340 w 89"/>
                  <a:gd name="T45" fmla="*/ 201753 h 185"/>
                  <a:gd name="T46" fmla="*/ 115340 w 89"/>
                  <a:gd name="T47" fmla="*/ 172931 h 185"/>
                  <a:gd name="T48" fmla="*/ 86505 w 89"/>
                  <a:gd name="T49" fmla="*/ 144109 h 185"/>
                  <a:gd name="T50" fmla="*/ 86505 w 89"/>
                  <a:gd name="T51" fmla="*/ 129698 h 185"/>
                  <a:gd name="T52" fmla="*/ 28835 w 89"/>
                  <a:gd name="T53" fmla="*/ 86465 h 185"/>
                  <a:gd name="T54" fmla="*/ 57670 w 89"/>
                  <a:gd name="T55" fmla="*/ 72054 h 185"/>
                  <a:gd name="T56" fmla="*/ 43252 w 89"/>
                  <a:gd name="T57" fmla="*/ 57644 h 185"/>
                  <a:gd name="T58" fmla="*/ 14417 w 89"/>
                  <a:gd name="T59" fmla="*/ 43233 h 185"/>
                  <a:gd name="T60" fmla="*/ 0 w 89"/>
                  <a:gd name="T61" fmla="*/ 14411 h 1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9"/>
                  <a:gd name="T94" fmla="*/ 0 h 185"/>
                  <a:gd name="T95" fmla="*/ 89 w 89"/>
                  <a:gd name="T96" fmla="*/ 185 h 1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9" h="185">
                    <a:moveTo>
                      <a:pt x="0" y="8"/>
                    </a:moveTo>
                    <a:lnTo>
                      <a:pt x="0" y="0"/>
                    </a:lnTo>
                    <a:lnTo>
                      <a:pt x="8" y="8"/>
                    </a:lnTo>
                    <a:lnTo>
                      <a:pt x="40" y="0"/>
                    </a:lnTo>
                    <a:lnTo>
                      <a:pt x="56" y="0"/>
                    </a:lnTo>
                    <a:lnTo>
                      <a:pt x="56" y="16"/>
                    </a:lnTo>
                    <a:lnTo>
                      <a:pt x="72" y="16"/>
                    </a:lnTo>
                    <a:lnTo>
                      <a:pt x="56" y="24"/>
                    </a:lnTo>
                    <a:lnTo>
                      <a:pt x="48" y="40"/>
                    </a:lnTo>
                    <a:lnTo>
                      <a:pt x="40" y="48"/>
                    </a:lnTo>
                    <a:lnTo>
                      <a:pt x="80" y="104"/>
                    </a:lnTo>
                    <a:lnTo>
                      <a:pt x="88" y="120"/>
                    </a:lnTo>
                    <a:lnTo>
                      <a:pt x="80" y="152"/>
                    </a:lnTo>
                    <a:lnTo>
                      <a:pt x="64" y="160"/>
                    </a:lnTo>
                    <a:lnTo>
                      <a:pt x="56" y="160"/>
                    </a:lnTo>
                    <a:lnTo>
                      <a:pt x="48" y="176"/>
                    </a:lnTo>
                    <a:lnTo>
                      <a:pt x="32" y="184"/>
                    </a:lnTo>
                    <a:lnTo>
                      <a:pt x="32" y="168"/>
                    </a:lnTo>
                    <a:lnTo>
                      <a:pt x="24" y="160"/>
                    </a:lnTo>
                    <a:lnTo>
                      <a:pt x="40" y="152"/>
                    </a:lnTo>
                    <a:lnTo>
                      <a:pt x="48" y="144"/>
                    </a:lnTo>
                    <a:lnTo>
                      <a:pt x="64" y="136"/>
                    </a:lnTo>
                    <a:lnTo>
                      <a:pt x="64" y="112"/>
                    </a:lnTo>
                    <a:lnTo>
                      <a:pt x="64" y="96"/>
                    </a:lnTo>
                    <a:lnTo>
                      <a:pt x="48" y="80"/>
                    </a:lnTo>
                    <a:lnTo>
                      <a:pt x="48" y="72"/>
                    </a:lnTo>
                    <a:lnTo>
                      <a:pt x="16" y="48"/>
                    </a:lnTo>
                    <a:lnTo>
                      <a:pt x="32" y="40"/>
                    </a:lnTo>
                    <a:lnTo>
                      <a:pt x="24" y="32"/>
                    </a:lnTo>
                    <a:lnTo>
                      <a:pt x="8" y="24"/>
                    </a:lnTo>
                    <a:lnTo>
                      <a:pt x="0" y="8"/>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4" name="Freeform 193">
                <a:extLst>
                  <a:ext uri="{FF2B5EF4-FFF2-40B4-BE49-F238E27FC236}">
                    <a16:creationId xmlns:a16="http://schemas.microsoft.com/office/drawing/2014/main" id="{09CB6078-EA17-4AF2-BF77-88D1E2369C41}"/>
                  </a:ext>
                </a:extLst>
              </p:cNvPr>
              <p:cNvSpPr>
                <a:spLocks/>
              </p:cNvSpPr>
              <p:nvPr/>
            </p:nvSpPr>
            <p:spPr bwMode="auto">
              <a:xfrm>
                <a:off x="2147146" y="2771612"/>
                <a:ext cx="161538" cy="128638"/>
              </a:xfrm>
              <a:custGeom>
                <a:avLst/>
                <a:gdLst>
                  <a:gd name="T0" fmla="*/ 43252 w 65"/>
                  <a:gd name="T1" fmla="*/ 86466 h 49"/>
                  <a:gd name="T2" fmla="*/ 43252 w 65"/>
                  <a:gd name="T3" fmla="*/ 86466 h 49"/>
                  <a:gd name="T4" fmla="*/ 72087 w 65"/>
                  <a:gd name="T5" fmla="*/ 72055 h 49"/>
                  <a:gd name="T6" fmla="*/ 86505 w 65"/>
                  <a:gd name="T7" fmla="*/ 57644 h 49"/>
                  <a:gd name="T8" fmla="*/ 115340 w 65"/>
                  <a:gd name="T9" fmla="*/ 43233 h 49"/>
                  <a:gd name="T10" fmla="*/ 115340 w 65"/>
                  <a:gd name="T11" fmla="*/ 0 h 49"/>
                  <a:gd name="T12" fmla="*/ 86505 w 65"/>
                  <a:gd name="T13" fmla="*/ 0 h 49"/>
                  <a:gd name="T14" fmla="*/ 86505 w 65"/>
                  <a:gd name="T15" fmla="*/ 14411 h 49"/>
                  <a:gd name="T16" fmla="*/ 72087 w 65"/>
                  <a:gd name="T17" fmla="*/ 0 h 49"/>
                  <a:gd name="T18" fmla="*/ 14417 w 65"/>
                  <a:gd name="T19" fmla="*/ 0 h 49"/>
                  <a:gd name="T20" fmla="*/ 0 w 65"/>
                  <a:gd name="T21" fmla="*/ 28822 h 49"/>
                  <a:gd name="T22" fmla="*/ 14417 w 65"/>
                  <a:gd name="T23" fmla="*/ 57644 h 49"/>
                  <a:gd name="T24" fmla="*/ 14417 w 65"/>
                  <a:gd name="T25" fmla="*/ 72055 h 49"/>
                  <a:gd name="T26" fmla="*/ 14417 w 65"/>
                  <a:gd name="T27" fmla="*/ 86466 h 49"/>
                  <a:gd name="T28" fmla="*/ 43252 w 65"/>
                  <a:gd name="T29" fmla="*/ 86466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
                  <a:gd name="T46" fmla="*/ 0 h 49"/>
                  <a:gd name="T47" fmla="*/ 65 w 65"/>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 h="49">
                    <a:moveTo>
                      <a:pt x="24" y="48"/>
                    </a:moveTo>
                    <a:lnTo>
                      <a:pt x="24" y="48"/>
                    </a:lnTo>
                    <a:lnTo>
                      <a:pt x="40" y="40"/>
                    </a:lnTo>
                    <a:lnTo>
                      <a:pt x="48" y="32"/>
                    </a:lnTo>
                    <a:lnTo>
                      <a:pt x="64" y="24"/>
                    </a:lnTo>
                    <a:lnTo>
                      <a:pt x="64" y="0"/>
                    </a:lnTo>
                    <a:lnTo>
                      <a:pt x="48" y="0"/>
                    </a:lnTo>
                    <a:lnTo>
                      <a:pt x="48" y="8"/>
                    </a:lnTo>
                    <a:lnTo>
                      <a:pt x="40" y="0"/>
                    </a:lnTo>
                    <a:lnTo>
                      <a:pt x="8" y="0"/>
                    </a:lnTo>
                    <a:lnTo>
                      <a:pt x="0" y="16"/>
                    </a:lnTo>
                    <a:lnTo>
                      <a:pt x="8" y="32"/>
                    </a:lnTo>
                    <a:lnTo>
                      <a:pt x="8" y="40"/>
                    </a:lnTo>
                    <a:lnTo>
                      <a:pt x="8" y="48"/>
                    </a:lnTo>
                    <a:lnTo>
                      <a:pt x="24" y="48"/>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5" name="Freeform 194">
                <a:extLst>
                  <a:ext uri="{FF2B5EF4-FFF2-40B4-BE49-F238E27FC236}">
                    <a16:creationId xmlns:a16="http://schemas.microsoft.com/office/drawing/2014/main" id="{9028ED61-AFF9-4B6E-8DDC-FEBD6BA4451E}"/>
                  </a:ext>
                </a:extLst>
              </p:cNvPr>
              <p:cNvSpPr>
                <a:spLocks/>
              </p:cNvSpPr>
              <p:nvPr/>
            </p:nvSpPr>
            <p:spPr bwMode="auto">
              <a:xfrm>
                <a:off x="2147146" y="2771612"/>
                <a:ext cx="161538" cy="128638"/>
              </a:xfrm>
              <a:custGeom>
                <a:avLst/>
                <a:gdLst>
                  <a:gd name="T0" fmla="*/ 43252 w 65"/>
                  <a:gd name="T1" fmla="*/ 86466 h 49"/>
                  <a:gd name="T2" fmla="*/ 72087 w 65"/>
                  <a:gd name="T3" fmla="*/ 72055 h 49"/>
                  <a:gd name="T4" fmla="*/ 86505 w 65"/>
                  <a:gd name="T5" fmla="*/ 57644 h 49"/>
                  <a:gd name="T6" fmla="*/ 115340 w 65"/>
                  <a:gd name="T7" fmla="*/ 43233 h 49"/>
                  <a:gd name="T8" fmla="*/ 115340 w 65"/>
                  <a:gd name="T9" fmla="*/ 0 h 49"/>
                  <a:gd name="T10" fmla="*/ 86505 w 65"/>
                  <a:gd name="T11" fmla="*/ 0 h 49"/>
                  <a:gd name="T12" fmla="*/ 86505 w 65"/>
                  <a:gd name="T13" fmla="*/ 14411 h 49"/>
                  <a:gd name="T14" fmla="*/ 72087 w 65"/>
                  <a:gd name="T15" fmla="*/ 0 h 49"/>
                  <a:gd name="T16" fmla="*/ 14417 w 65"/>
                  <a:gd name="T17" fmla="*/ 0 h 49"/>
                  <a:gd name="T18" fmla="*/ 0 w 65"/>
                  <a:gd name="T19" fmla="*/ 28822 h 49"/>
                  <a:gd name="T20" fmla="*/ 14417 w 65"/>
                  <a:gd name="T21" fmla="*/ 57644 h 49"/>
                  <a:gd name="T22" fmla="*/ 14417 w 65"/>
                  <a:gd name="T23" fmla="*/ 72055 h 49"/>
                  <a:gd name="T24" fmla="*/ 14417 w 65"/>
                  <a:gd name="T25" fmla="*/ 86466 h 49"/>
                  <a:gd name="T26" fmla="*/ 43252 w 65"/>
                  <a:gd name="T27" fmla="*/ 86466 h 4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5"/>
                  <a:gd name="T43" fmla="*/ 0 h 49"/>
                  <a:gd name="T44" fmla="*/ 65 w 65"/>
                  <a:gd name="T45" fmla="*/ 49 h 4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5" h="49">
                    <a:moveTo>
                      <a:pt x="24" y="48"/>
                    </a:moveTo>
                    <a:lnTo>
                      <a:pt x="40" y="40"/>
                    </a:lnTo>
                    <a:lnTo>
                      <a:pt x="48" y="32"/>
                    </a:lnTo>
                    <a:lnTo>
                      <a:pt x="64" y="24"/>
                    </a:lnTo>
                    <a:lnTo>
                      <a:pt x="64" y="0"/>
                    </a:lnTo>
                    <a:lnTo>
                      <a:pt x="48" y="0"/>
                    </a:lnTo>
                    <a:lnTo>
                      <a:pt x="48" y="8"/>
                    </a:lnTo>
                    <a:lnTo>
                      <a:pt x="40" y="0"/>
                    </a:lnTo>
                    <a:lnTo>
                      <a:pt x="8" y="0"/>
                    </a:lnTo>
                    <a:lnTo>
                      <a:pt x="0" y="16"/>
                    </a:lnTo>
                    <a:lnTo>
                      <a:pt x="8" y="32"/>
                    </a:lnTo>
                    <a:lnTo>
                      <a:pt x="8" y="40"/>
                    </a:lnTo>
                    <a:lnTo>
                      <a:pt x="8" y="48"/>
                    </a:lnTo>
                    <a:lnTo>
                      <a:pt x="24" y="48"/>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6" name="Freeform 195">
                <a:extLst>
                  <a:ext uri="{FF2B5EF4-FFF2-40B4-BE49-F238E27FC236}">
                    <a16:creationId xmlns:a16="http://schemas.microsoft.com/office/drawing/2014/main" id="{470F4778-C697-49C9-9167-EE3C2CAED3B9}"/>
                  </a:ext>
                </a:extLst>
              </p:cNvPr>
              <p:cNvSpPr>
                <a:spLocks/>
              </p:cNvSpPr>
              <p:nvPr/>
            </p:nvSpPr>
            <p:spPr bwMode="auto">
              <a:xfrm>
                <a:off x="2087503" y="3023638"/>
                <a:ext cx="121776" cy="191644"/>
              </a:xfrm>
              <a:custGeom>
                <a:avLst/>
                <a:gdLst>
                  <a:gd name="T0" fmla="*/ 43252 w 49"/>
                  <a:gd name="T1" fmla="*/ 14411 h 73"/>
                  <a:gd name="T2" fmla="*/ 43252 w 49"/>
                  <a:gd name="T3" fmla="*/ 14411 h 73"/>
                  <a:gd name="T4" fmla="*/ 28835 w 49"/>
                  <a:gd name="T5" fmla="*/ 28822 h 73"/>
                  <a:gd name="T6" fmla="*/ 14417 w 49"/>
                  <a:gd name="T7" fmla="*/ 14411 h 73"/>
                  <a:gd name="T8" fmla="*/ 0 w 49"/>
                  <a:gd name="T9" fmla="*/ 0 h 73"/>
                  <a:gd name="T10" fmla="*/ 0 w 49"/>
                  <a:gd name="T11" fmla="*/ 14411 h 73"/>
                  <a:gd name="T12" fmla="*/ 0 w 49"/>
                  <a:gd name="T13" fmla="*/ 57644 h 73"/>
                  <a:gd name="T14" fmla="*/ 28835 w 49"/>
                  <a:gd name="T15" fmla="*/ 86466 h 73"/>
                  <a:gd name="T16" fmla="*/ 72087 w 49"/>
                  <a:gd name="T17" fmla="*/ 129699 h 73"/>
                  <a:gd name="T18" fmla="*/ 86505 w 49"/>
                  <a:gd name="T19" fmla="*/ 129699 h 73"/>
                  <a:gd name="T20" fmla="*/ 72087 w 49"/>
                  <a:gd name="T21" fmla="*/ 86466 h 73"/>
                  <a:gd name="T22" fmla="*/ 72087 w 49"/>
                  <a:gd name="T23" fmla="*/ 43233 h 73"/>
                  <a:gd name="T24" fmla="*/ 43252 w 49"/>
                  <a:gd name="T25" fmla="*/ 14411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73"/>
                  <a:gd name="T41" fmla="*/ 49 w 49"/>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73">
                    <a:moveTo>
                      <a:pt x="24" y="8"/>
                    </a:moveTo>
                    <a:lnTo>
                      <a:pt x="24" y="8"/>
                    </a:lnTo>
                    <a:lnTo>
                      <a:pt x="16" y="16"/>
                    </a:lnTo>
                    <a:lnTo>
                      <a:pt x="8" y="8"/>
                    </a:lnTo>
                    <a:lnTo>
                      <a:pt x="0" y="0"/>
                    </a:lnTo>
                    <a:lnTo>
                      <a:pt x="0" y="8"/>
                    </a:lnTo>
                    <a:lnTo>
                      <a:pt x="0" y="32"/>
                    </a:lnTo>
                    <a:lnTo>
                      <a:pt x="16" y="48"/>
                    </a:lnTo>
                    <a:lnTo>
                      <a:pt x="40" y="72"/>
                    </a:lnTo>
                    <a:lnTo>
                      <a:pt x="48" y="72"/>
                    </a:lnTo>
                    <a:lnTo>
                      <a:pt x="40" y="48"/>
                    </a:lnTo>
                    <a:lnTo>
                      <a:pt x="40" y="24"/>
                    </a:lnTo>
                    <a:lnTo>
                      <a:pt x="24" y="8"/>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7" name="Freeform 196">
                <a:extLst>
                  <a:ext uri="{FF2B5EF4-FFF2-40B4-BE49-F238E27FC236}">
                    <a16:creationId xmlns:a16="http://schemas.microsoft.com/office/drawing/2014/main" id="{F85C76B3-A8F9-4277-98B3-F6B893667D36}"/>
                  </a:ext>
                </a:extLst>
              </p:cNvPr>
              <p:cNvSpPr>
                <a:spLocks/>
              </p:cNvSpPr>
              <p:nvPr/>
            </p:nvSpPr>
            <p:spPr bwMode="auto">
              <a:xfrm>
                <a:off x="2087503" y="3023638"/>
                <a:ext cx="121776" cy="191644"/>
              </a:xfrm>
              <a:custGeom>
                <a:avLst/>
                <a:gdLst>
                  <a:gd name="T0" fmla="*/ 43252 w 49"/>
                  <a:gd name="T1" fmla="*/ 14411 h 73"/>
                  <a:gd name="T2" fmla="*/ 28835 w 49"/>
                  <a:gd name="T3" fmla="*/ 28822 h 73"/>
                  <a:gd name="T4" fmla="*/ 14417 w 49"/>
                  <a:gd name="T5" fmla="*/ 14411 h 73"/>
                  <a:gd name="T6" fmla="*/ 0 w 49"/>
                  <a:gd name="T7" fmla="*/ 0 h 73"/>
                  <a:gd name="T8" fmla="*/ 0 w 49"/>
                  <a:gd name="T9" fmla="*/ 14411 h 73"/>
                  <a:gd name="T10" fmla="*/ 0 w 49"/>
                  <a:gd name="T11" fmla="*/ 57644 h 73"/>
                  <a:gd name="T12" fmla="*/ 28835 w 49"/>
                  <a:gd name="T13" fmla="*/ 86466 h 73"/>
                  <a:gd name="T14" fmla="*/ 72087 w 49"/>
                  <a:gd name="T15" fmla="*/ 129699 h 73"/>
                  <a:gd name="T16" fmla="*/ 86505 w 49"/>
                  <a:gd name="T17" fmla="*/ 129699 h 73"/>
                  <a:gd name="T18" fmla="*/ 72087 w 49"/>
                  <a:gd name="T19" fmla="*/ 86466 h 73"/>
                  <a:gd name="T20" fmla="*/ 72087 w 49"/>
                  <a:gd name="T21" fmla="*/ 43233 h 73"/>
                  <a:gd name="T22" fmla="*/ 43252 w 49"/>
                  <a:gd name="T23" fmla="*/ 14411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73"/>
                  <a:gd name="T38" fmla="*/ 49 w 49"/>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73">
                    <a:moveTo>
                      <a:pt x="24" y="8"/>
                    </a:moveTo>
                    <a:lnTo>
                      <a:pt x="16" y="16"/>
                    </a:lnTo>
                    <a:lnTo>
                      <a:pt x="8" y="8"/>
                    </a:lnTo>
                    <a:lnTo>
                      <a:pt x="0" y="0"/>
                    </a:lnTo>
                    <a:lnTo>
                      <a:pt x="0" y="8"/>
                    </a:lnTo>
                    <a:lnTo>
                      <a:pt x="0" y="32"/>
                    </a:lnTo>
                    <a:lnTo>
                      <a:pt x="16" y="48"/>
                    </a:lnTo>
                    <a:lnTo>
                      <a:pt x="40" y="72"/>
                    </a:lnTo>
                    <a:lnTo>
                      <a:pt x="48" y="72"/>
                    </a:lnTo>
                    <a:lnTo>
                      <a:pt x="40" y="48"/>
                    </a:lnTo>
                    <a:lnTo>
                      <a:pt x="40" y="24"/>
                    </a:lnTo>
                    <a:lnTo>
                      <a:pt x="24"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8" name="Freeform 197">
                <a:extLst>
                  <a:ext uri="{FF2B5EF4-FFF2-40B4-BE49-F238E27FC236}">
                    <a16:creationId xmlns:a16="http://schemas.microsoft.com/office/drawing/2014/main" id="{B41BEDD8-0221-489B-A7C6-B50081D2A0A9}"/>
                  </a:ext>
                </a:extLst>
              </p:cNvPr>
              <p:cNvSpPr>
                <a:spLocks/>
              </p:cNvSpPr>
              <p:nvPr/>
            </p:nvSpPr>
            <p:spPr bwMode="auto">
              <a:xfrm>
                <a:off x="2365846" y="3023638"/>
                <a:ext cx="320592" cy="191644"/>
              </a:xfrm>
              <a:custGeom>
                <a:avLst/>
                <a:gdLst>
                  <a:gd name="T0" fmla="*/ 129757 w 129"/>
                  <a:gd name="T1" fmla="*/ 43233 h 73"/>
                  <a:gd name="T2" fmla="*/ 129757 w 129"/>
                  <a:gd name="T3" fmla="*/ 43233 h 73"/>
                  <a:gd name="T4" fmla="*/ 144174 w 129"/>
                  <a:gd name="T5" fmla="*/ 43233 h 73"/>
                  <a:gd name="T6" fmla="*/ 129757 w 129"/>
                  <a:gd name="T7" fmla="*/ 57644 h 73"/>
                  <a:gd name="T8" fmla="*/ 115339 w 129"/>
                  <a:gd name="T9" fmla="*/ 57644 h 73"/>
                  <a:gd name="T10" fmla="*/ 100922 w 129"/>
                  <a:gd name="T11" fmla="*/ 57644 h 73"/>
                  <a:gd name="T12" fmla="*/ 72087 w 129"/>
                  <a:gd name="T13" fmla="*/ 86466 h 73"/>
                  <a:gd name="T14" fmla="*/ 43252 w 129"/>
                  <a:gd name="T15" fmla="*/ 86466 h 73"/>
                  <a:gd name="T16" fmla="*/ 43252 w 129"/>
                  <a:gd name="T17" fmla="*/ 115288 h 73"/>
                  <a:gd name="T18" fmla="*/ 0 w 129"/>
                  <a:gd name="T19" fmla="*/ 115288 h 73"/>
                  <a:gd name="T20" fmla="*/ 28835 w 129"/>
                  <a:gd name="T21" fmla="*/ 129699 h 73"/>
                  <a:gd name="T22" fmla="*/ 57670 w 129"/>
                  <a:gd name="T23" fmla="*/ 129699 h 73"/>
                  <a:gd name="T24" fmla="*/ 72087 w 129"/>
                  <a:gd name="T25" fmla="*/ 115288 h 73"/>
                  <a:gd name="T26" fmla="*/ 100922 w 129"/>
                  <a:gd name="T27" fmla="*/ 129699 h 73"/>
                  <a:gd name="T28" fmla="*/ 115339 w 129"/>
                  <a:gd name="T29" fmla="*/ 115288 h 73"/>
                  <a:gd name="T30" fmla="*/ 158592 w 129"/>
                  <a:gd name="T31" fmla="*/ 57644 h 73"/>
                  <a:gd name="T32" fmla="*/ 201844 w 129"/>
                  <a:gd name="T33" fmla="*/ 57644 h 73"/>
                  <a:gd name="T34" fmla="*/ 216261 w 129"/>
                  <a:gd name="T35" fmla="*/ 57644 h 73"/>
                  <a:gd name="T36" fmla="*/ 201844 w 129"/>
                  <a:gd name="T37" fmla="*/ 43233 h 73"/>
                  <a:gd name="T38" fmla="*/ 230679 w 129"/>
                  <a:gd name="T39" fmla="*/ 43233 h 73"/>
                  <a:gd name="T40" fmla="*/ 187427 w 129"/>
                  <a:gd name="T41" fmla="*/ 28822 h 73"/>
                  <a:gd name="T42" fmla="*/ 187427 w 129"/>
                  <a:gd name="T43" fmla="*/ 14411 h 73"/>
                  <a:gd name="T44" fmla="*/ 173009 w 129"/>
                  <a:gd name="T45" fmla="*/ 0 h 73"/>
                  <a:gd name="T46" fmla="*/ 144174 w 129"/>
                  <a:gd name="T47" fmla="*/ 28822 h 73"/>
                  <a:gd name="T48" fmla="*/ 129757 w 129"/>
                  <a:gd name="T49" fmla="*/ 43233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9"/>
                  <a:gd name="T76" fmla="*/ 0 h 73"/>
                  <a:gd name="T77" fmla="*/ 129 w 129"/>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9" h="73">
                    <a:moveTo>
                      <a:pt x="72" y="24"/>
                    </a:moveTo>
                    <a:lnTo>
                      <a:pt x="72" y="24"/>
                    </a:lnTo>
                    <a:lnTo>
                      <a:pt x="80" y="24"/>
                    </a:lnTo>
                    <a:lnTo>
                      <a:pt x="72" y="32"/>
                    </a:lnTo>
                    <a:lnTo>
                      <a:pt x="64" y="32"/>
                    </a:lnTo>
                    <a:lnTo>
                      <a:pt x="56" y="32"/>
                    </a:lnTo>
                    <a:lnTo>
                      <a:pt x="40" y="48"/>
                    </a:lnTo>
                    <a:lnTo>
                      <a:pt x="24" y="48"/>
                    </a:lnTo>
                    <a:lnTo>
                      <a:pt x="24" y="64"/>
                    </a:lnTo>
                    <a:lnTo>
                      <a:pt x="0" y="64"/>
                    </a:lnTo>
                    <a:lnTo>
                      <a:pt x="16" y="72"/>
                    </a:lnTo>
                    <a:lnTo>
                      <a:pt x="32" y="72"/>
                    </a:lnTo>
                    <a:lnTo>
                      <a:pt x="40" y="64"/>
                    </a:lnTo>
                    <a:lnTo>
                      <a:pt x="56" y="72"/>
                    </a:lnTo>
                    <a:lnTo>
                      <a:pt x="64" y="64"/>
                    </a:lnTo>
                    <a:lnTo>
                      <a:pt x="88" y="32"/>
                    </a:lnTo>
                    <a:lnTo>
                      <a:pt x="112" y="32"/>
                    </a:lnTo>
                    <a:lnTo>
                      <a:pt x="120" y="32"/>
                    </a:lnTo>
                    <a:lnTo>
                      <a:pt x="112" y="24"/>
                    </a:lnTo>
                    <a:lnTo>
                      <a:pt x="128" y="24"/>
                    </a:lnTo>
                    <a:lnTo>
                      <a:pt x="104" y="16"/>
                    </a:lnTo>
                    <a:lnTo>
                      <a:pt x="104" y="8"/>
                    </a:lnTo>
                    <a:lnTo>
                      <a:pt x="96" y="0"/>
                    </a:lnTo>
                    <a:lnTo>
                      <a:pt x="80" y="16"/>
                    </a:lnTo>
                    <a:lnTo>
                      <a:pt x="72" y="24"/>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49" name="Freeform 198">
                <a:extLst>
                  <a:ext uri="{FF2B5EF4-FFF2-40B4-BE49-F238E27FC236}">
                    <a16:creationId xmlns:a16="http://schemas.microsoft.com/office/drawing/2014/main" id="{1EDD41D4-C45C-4DD6-8A39-EAD9BEB03DD9}"/>
                  </a:ext>
                </a:extLst>
              </p:cNvPr>
              <p:cNvSpPr>
                <a:spLocks/>
              </p:cNvSpPr>
              <p:nvPr/>
            </p:nvSpPr>
            <p:spPr bwMode="auto">
              <a:xfrm>
                <a:off x="2365846" y="3023638"/>
                <a:ext cx="320592" cy="191644"/>
              </a:xfrm>
              <a:custGeom>
                <a:avLst/>
                <a:gdLst>
                  <a:gd name="T0" fmla="*/ 129757 w 129"/>
                  <a:gd name="T1" fmla="*/ 43233 h 73"/>
                  <a:gd name="T2" fmla="*/ 144174 w 129"/>
                  <a:gd name="T3" fmla="*/ 43233 h 73"/>
                  <a:gd name="T4" fmla="*/ 129757 w 129"/>
                  <a:gd name="T5" fmla="*/ 57644 h 73"/>
                  <a:gd name="T6" fmla="*/ 115339 w 129"/>
                  <a:gd name="T7" fmla="*/ 57644 h 73"/>
                  <a:gd name="T8" fmla="*/ 100922 w 129"/>
                  <a:gd name="T9" fmla="*/ 57644 h 73"/>
                  <a:gd name="T10" fmla="*/ 72087 w 129"/>
                  <a:gd name="T11" fmla="*/ 86466 h 73"/>
                  <a:gd name="T12" fmla="*/ 43252 w 129"/>
                  <a:gd name="T13" fmla="*/ 86466 h 73"/>
                  <a:gd name="T14" fmla="*/ 43252 w 129"/>
                  <a:gd name="T15" fmla="*/ 115288 h 73"/>
                  <a:gd name="T16" fmla="*/ 0 w 129"/>
                  <a:gd name="T17" fmla="*/ 115288 h 73"/>
                  <a:gd name="T18" fmla="*/ 28835 w 129"/>
                  <a:gd name="T19" fmla="*/ 129699 h 73"/>
                  <a:gd name="T20" fmla="*/ 57670 w 129"/>
                  <a:gd name="T21" fmla="*/ 129699 h 73"/>
                  <a:gd name="T22" fmla="*/ 72087 w 129"/>
                  <a:gd name="T23" fmla="*/ 115288 h 73"/>
                  <a:gd name="T24" fmla="*/ 100922 w 129"/>
                  <a:gd name="T25" fmla="*/ 129699 h 73"/>
                  <a:gd name="T26" fmla="*/ 115339 w 129"/>
                  <a:gd name="T27" fmla="*/ 115288 h 73"/>
                  <a:gd name="T28" fmla="*/ 158592 w 129"/>
                  <a:gd name="T29" fmla="*/ 57644 h 73"/>
                  <a:gd name="T30" fmla="*/ 201844 w 129"/>
                  <a:gd name="T31" fmla="*/ 57644 h 73"/>
                  <a:gd name="T32" fmla="*/ 216261 w 129"/>
                  <a:gd name="T33" fmla="*/ 57644 h 73"/>
                  <a:gd name="T34" fmla="*/ 201844 w 129"/>
                  <a:gd name="T35" fmla="*/ 43233 h 73"/>
                  <a:gd name="T36" fmla="*/ 230679 w 129"/>
                  <a:gd name="T37" fmla="*/ 43233 h 73"/>
                  <a:gd name="T38" fmla="*/ 187427 w 129"/>
                  <a:gd name="T39" fmla="*/ 28822 h 73"/>
                  <a:gd name="T40" fmla="*/ 187427 w 129"/>
                  <a:gd name="T41" fmla="*/ 14411 h 73"/>
                  <a:gd name="T42" fmla="*/ 173009 w 129"/>
                  <a:gd name="T43" fmla="*/ 0 h 73"/>
                  <a:gd name="T44" fmla="*/ 144174 w 129"/>
                  <a:gd name="T45" fmla="*/ 28822 h 73"/>
                  <a:gd name="T46" fmla="*/ 129757 w 129"/>
                  <a:gd name="T47" fmla="*/ 43233 h 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9"/>
                  <a:gd name="T73" fmla="*/ 0 h 73"/>
                  <a:gd name="T74" fmla="*/ 129 w 129"/>
                  <a:gd name="T75" fmla="*/ 73 h 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9" h="73">
                    <a:moveTo>
                      <a:pt x="72" y="24"/>
                    </a:moveTo>
                    <a:lnTo>
                      <a:pt x="80" y="24"/>
                    </a:lnTo>
                    <a:lnTo>
                      <a:pt x="72" y="32"/>
                    </a:lnTo>
                    <a:lnTo>
                      <a:pt x="64" y="32"/>
                    </a:lnTo>
                    <a:lnTo>
                      <a:pt x="56" y="32"/>
                    </a:lnTo>
                    <a:lnTo>
                      <a:pt x="40" y="48"/>
                    </a:lnTo>
                    <a:lnTo>
                      <a:pt x="24" y="48"/>
                    </a:lnTo>
                    <a:lnTo>
                      <a:pt x="24" y="64"/>
                    </a:lnTo>
                    <a:lnTo>
                      <a:pt x="0" y="64"/>
                    </a:lnTo>
                    <a:lnTo>
                      <a:pt x="16" y="72"/>
                    </a:lnTo>
                    <a:lnTo>
                      <a:pt x="32" y="72"/>
                    </a:lnTo>
                    <a:lnTo>
                      <a:pt x="40" y="64"/>
                    </a:lnTo>
                    <a:lnTo>
                      <a:pt x="56" y="72"/>
                    </a:lnTo>
                    <a:lnTo>
                      <a:pt x="64" y="64"/>
                    </a:lnTo>
                    <a:lnTo>
                      <a:pt x="88" y="32"/>
                    </a:lnTo>
                    <a:lnTo>
                      <a:pt x="112" y="32"/>
                    </a:lnTo>
                    <a:lnTo>
                      <a:pt x="120" y="32"/>
                    </a:lnTo>
                    <a:lnTo>
                      <a:pt x="112" y="24"/>
                    </a:lnTo>
                    <a:lnTo>
                      <a:pt x="128" y="24"/>
                    </a:lnTo>
                    <a:lnTo>
                      <a:pt x="104" y="16"/>
                    </a:lnTo>
                    <a:lnTo>
                      <a:pt x="104" y="8"/>
                    </a:lnTo>
                    <a:lnTo>
                      <a:pt x="96" y="0"/>
                    </a:lnTo>
                    <a:lnTo>
                      <a:pt x="80" y="16"/>
                    </a:lnTo>
                    <a:lnTo>
                      <a:pt x="72" y="24"/>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0" name="Freeform 199">
                <a:extLst>
                  <a:ext uri="{FF2B5EF4-FFF2-40B4-BE49-F238E27FC236}">
                    <a16:creationId xmlns:a16="http://schemas.microsoft.com/office/drawing/2014/main" id="{836124FC-1E4C-42AE-8482-CAED75CB108E}"/>
                  </a:ext>
                </a:extLst>
              </p:cNvPr>
              <p:cNvSpPr>
                <a:spLocks/>
              </p:cNvSpPr>
              <p:nvPr/>
            </p:nvSpPr>
            <p:spPr bwMode="auto">
              <a:xfrm>
                <a:off x="2505016" y="3086644"/>
                <a:ext cx="62129" cy="23627"/>
              </a:xfrm>
              <a:custGeom>
                <a:avLst/>
                <a:gdLst>
                  <a:gd name="T0" fmla="*/ 0 w 25"/>
                  <a:gd name="T1" fmla="*/ 14411 h 9"/>
                  <a:gd name="T2" fmla="*/ 0 w 25"/>
                  <a:gd name="T3" fmla="*/ 14411 h 9"/>
                  <a:gd name="T4" fmla="*/ 14417 w 25"/>
                  <a:gd name="T5" fmla="*/ 14411 h 9"/>
                  <a:gd name="T6" fmla="*/ 28835 w 25"/>
                  <a:gd name="T7" fmla="*/ 14411 h 9"/>
                  <a:gd name="T8" fmla="*/ 43252 w 25"/>
                  <a:gd name="T9" fmla="*/ 0 h 9"/>
                  <a:gd name="T10" fmla="*/ 28835 w 25"/>
                  <a:gd name="T11" fmla="*/ 0 h 9"/>
                  <a:gd name="T12" fmla="*/ 0 w 25"/>
                  <a:gd name="T13" fmla="*/ 14411 h 9"/>
                  <a:gd name="T14" fmla="*/ 0 60000 65536"/>
                  <a:gd name="T15" fmla="*/ 0 60000 65536"/>
                  <a:gd name="T16" fmla="*/ 0 60000 65536"/>
                  <a:gd name="T17" fmla="*/ 0 60000 65536"/>
                  <a:gd name="T18" fmla="*/ 0 60000 65536"/>
                  <a:gd name="T19" fmla="*/ 0 60000 65536"/>
                  <a:gd name="T20" fmla="*/ 0 60000 65536"/>
                  <a:gd name="T21" fmla="*/ 0 w 25"/>
                  <a:gd name="T22" fmla="*/ 0 h 9"/>
                  <a:gd name="T23" fmla="*/ 25 w 25"/>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9">
                    <a:moveTo>
                      <a:pt x="0" y="8"/>
                    </a:moveTo>
                    <a:lnTo>
                      <a:pt x="0" y="8"/>
                    </a:lnTo>
                    <a:lnTo>
                      <a:pt x="8" y="8"/>
                    </a:lnTo>
                    <a:lnTo>
                      <a:pt x="16" y="8"/>
                    </a:lnTo>
                    <a:lnTo>
                      <a:pt x="24" y="0"/>
                    </a:lnTo>
                    <a:lnTo>
                      <a:pt x="16"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1" name="Freeform 200">
                <a:extLst>
                  <a:ext uri="{FF2B5EF4-FFF2-40B4-BE49-F238E27FC236}">
                    <a16:creationId xmlns:a16="http://schemas.microsoft.com/office/drawing/2014/main" id="{DFB79F59-6679-43E1-A5A4-04C54A650965}"/>
                  </a:ext>
                </a:extLst>
              </p:cNvPr>
              <p:cNvSpPr>
                <a:spLocks/>
              </p:cNvSpPr>
              <p:nvPr/>
            </p:nvSpPr>
            <p:spPr bwMode="auto">
              <a:xfrm>
                <a:off x="2505016" y="3086644"/>
                <a:ext cx="62129" cy="23627"/>
              </a:xfrm>
              <a:custGeom>
                <a:avLst/>
                <a:gdLst>
                  <a:gd name="T0" fmla="*/ 0 w 25"/>
                  <a:gd name="T1" fmla="*/ 14411 h 9"/>
                  <a:gd name="T2" fmla="*/ 14417 w 25"/>
                  <a:gd name="T3" fmla="*/ 14411 h 9"/>
                  <a:gd name="T4" fmla="*/ 28835 w 25"/>
                  <a:gd name="T5" fmla="*/ 14411 h 9"/>
                  <a:gd name="T6" fmla="*/ 43252 w 25"/>
                  <a:gd name="T7" fmla="*/ 0 h 9"/>
                  <a:gd name="T8" fmla="*/ 28835 w 25"/>
                  <a:gd name="T9" fmla="*/ 0 h 9"/>
                  <a:gd name="T10" fmla="*/ 0 w 25"/>
                  <a:gd name="T11" fmla="*/ 14411 h 9"/>
                  <a:gd name="T12" fmla="*/ 0 60000 65536"/>
                  <a:gd name="T13" fmla="*/ 0 60000 65536"/>
                  <a:gd name="T14" fmla="*/ 0 60000 65536"/>
                  <a:gd name="T15" fmla="*/ 0 60000 65536"/>
                  <a:gd name="T16" fmla="*/ 0 60000 65536"/>
                  <a:gd name="T17" fmla="*/ 0 60000 65536"/>
                  <a:gd name="T18" fmla="*/ 0 w 25"/>
                  <a:gd name="T19" fmla="*/ 0 h 9"/>
                  <a:gd name="T20" fmla="*/ 25 w 25"/>
                  <a:gd name="T21" fmla="*/ 9 h 9"/>
                </a:gdLst>
                <a:ahLst/>
                <a:cxnLst>
                  <a:cxn ang="T12">
                    <a:pos x="T0" y="T1"/>
                  </a:cxn>
                  <a:cxn ang="T13">
                    <a:pos x="T2" y="T3"/>
                  </a:cxn>
                  <a:cxn ang="T14">
                    <a:pos x="T4" y="T5"/>
                  </a:cxn>
                  <a:cxn ang="T15">
                    <a:pos x="T6" y="T7"/>
                  </a:cxn>
                  <a:cxn ang="T16">
                    <a:pos x="T8" y="T9"/>
                  </a:cxn>
                  <a:cxn ang="T17">
                    <a:pos x="T10" y="T11"/>
                  </a:cxn>
                </a:cxnLst>
                <a:rect l="T18" t="T19" r="T20" b="T21"/>
                <a:pathLst>
                  <a:path w="25" h="9">
                    <a:moveTo>
                      <a:pt x="0" y="8"/>
                    </a:moveTo>
                    <a:lnTo>
                      <a:pt x="8" y="8"/>
                    </a:lnTo>
                    <a:lnTo>
                      <a:pt x="16" y="8"/>
                    </a:lnTo>
                    <a:lnTo>
                      <a:pt x="24" y="0"/>
                    </a:lnTo>
                    <a:lnTo>
                      <a:pt x="16"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2" name="Freeform 201">
                <a:extLst>
                  <a:ext uri="{FF2B5EF4-FFF2-40B4-BE49-F238E27FC236}">
                    <a16:creationId xmlns:a16="http://schemas.microsoft.com/office/drawing/2014/main" id="{07CEE954-190A-461C-879F-126AEFA46010}"/>
                  </a:ext>
                </a:extLst>
              </p:cNvPr>
              <p:cNvSpPr>
                <a:spLocks/>
              </p:cNvSpPr>
              <p:nvPr/>
            </p:nvSpPr>
            <p:spPr bwMode="auto">
              <a:xfrm>
                <a:off x="2345965" y="3107647"/>
                <a:ext cx="320592" cy="275653"/>
              </a:xfrm>
              <a:custGeom>
                <a:avLst/>
                <a:gdLst>
                  <a:gd name="T0" fmla="*/ 14417 w 129"/>
                  <a:gd name="T1" fmla="*/ 57644 h 105"/>
                  <a:gd name="T2" fmla="*/ 14417 w 129"/>
                  <a:gd name="T3" fmla="*/ 57644 h 105"/>
                  <a:gd name="T4" fmla="*/ 43252 w 129"/>
                  <a:gd name="T5" fmla="*/ 72054 h 105"/>
                  <a:gd name="T6" fmla="*/ 72087 w 129"/>
                  <a:gd name="T7" fmla="*/ 72054 h 105"/>
                  <a:gd name="T8" fmla="*/ 86505 w 129"/>
                  <a:gd name="T9" fmla="*/ 57644 h 105"/>
                  <a:gd name="T10" fmla="*/ 115339 w 129"/>
                  <a:gd name="T11" fmla="*/ 72054 h 105"/>
                  <a:gd name="T12" fmla="*/ 129757 w 129"/>
                  <a:gd name="T13" fmla="*/ 57644 h 105"/>
                  <a:gd name="T14" fmla="*/ 173009 w 129"/>
                  <a:gd name="T15" fmla="*/ 0 h 105"/>
                  <a:gd name="T16" fmla="*/ 216261 w 129"/>
                  <a:gd name="T17" fmla="*/ 0 h 105"/>
                  <a:gd name="T18" fmla="*/ 201844 w 129"/>
                  <a:gd name="T19" fmla="*/ 28822 h 105"/>
                  <a:gd name="T20" fmla="*/ 216261 w 129"/>
                  <a:gd name="T21" fmla="*/ 43233 h 105"/>
                  <a:gd name="T22" fmla="*/ 201844 w 129"/>
                  <a:gd name="T23" fmla="*/ 57644 h 105"/>
                  <a:gd name="T24" fmla="*/ 230679 w 129"/>
                  <a:gd name="T25" fmla="*/ 72054 h 105"/>
                  <a:gd name="T26" fmla="*/ 216261 w 129"/>
                  <a:gd name="T27" fmla="*/ 86465 h 105"/>
                  <a:gd name="T28" fmla="*/ 187427 w 129"/>
                  <a:gd name="T29" fmla="*/ 115287 h 105"/>
                  <a:gd name="T30" fmla="*/ 173009 w 129"/>
                  <a:gd name="T31" fmla="*/ 144109 h 105"/>
                  <a:gd name="T32" fmla="*/ 187427 w 129"/>
                  <a:gd name="T33" fmla="*/ 144109 h 105"/>
                  <a:gd name="T34" fmla="*/ 173009 w 129"/>
                  <a:gd name="T35" fmla="*/ 172931 h 105"/>
                  <a:gd name="T36" fmla="*/ 144174 w 129"/>
                  <a:gd name="T37" fmla="*/ 187342 h 105"/>
                  <a:gd name="T38" fmla="*/ 129757 w 129"/>
                  <a:gd name="T39" fmla="*/ 172931 h 105"/>
                  <a:gd name="T40" fmla="*/ 100922 w 129"/>
                  <a:gd name="T41" fmla="*/ 172931 h 105"/>
                  <a:gd name="T42" fmla="*/ 72087 w 129"/>
                  <a:gd name="T43" fmla="*/ 172931 h 105"/>
                  <a:gd name="T44" fmla="*/ 72087 w 129"/>
                  <a:gd name="T45" fmla="*/ 158520 h 105"/>
                  <a:gd name="T46" fmla="*/ 43252 w 129"/>
                  <a:gd name="T47" fmla="*/ 158520 h 105"/>
                  <a:gd name="T48" fmla="*/ 28835 w 129"/>
                  <a:gd name="T49" fmla="*/ 129698 h 105"/>
                  <a:gd name="T50" fmla="*/ 14417 w 129"/>
                  <a:gd name="T51" fmla="*/ 100876 h 105"/>
                  <a:gd name="T52" fmla="*/ 0 w 129"/>
                  <a:gd name="T53" fmla="*/ 72054 h 105"/>
                  <a:gd name="T54" fmla="*/ 14417 w 129"/>
                  <a:gd name="T55" fmla="*/ 57644 h 10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9"/>
                  <a:gd name="T85" fmla="*/ 0 h 105"/>
                  <a:gd name="T86" fmla="*/ 129 w 129"/>
                  <a:gd name="T87" fmla="*/ 105 h 10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9" h="105">
                    <a:moveTo>
                      <a:pt x="8" y="32"/>
                    </a:moveTo>
                    <a:lnTo>
                      <a:pt x="8" y="32"/>
                    </a:lnTo>
                    <a:lnTo>
                      <a:pt x="24" y="40"/>
                    </a:lnTo>
                    <a:lnTo>
                      <a:pt x="40" y="40"/>
                    </a:lnTo>
                    <a:lnTo>
                      <a:pt x="48" y="32"/>
                    </a:lnTo>
                    <a:lnTo>
                      <a:pt x="64" y="40"/>
                    </a:lnTo>
                    <a:lnTo>
                      <a:pt x="72" y="32"/>
                    </a:lnTo>
                    <a:lnTo>
                      <a:pt x="96" y="0"/>
                    </a:lnTo>
                    <a:lnTo>
                      <a:pt x="120" y="0"/>
                    </a:lnTo>
                    <a:lnTo>
                      <a:pt x="112" y="16"/>
                    </a:lnTo>
                    <a:lnTo>
                      <a:pt x="120" y="24"/>
                    </a:lnTo>
                    <a:lnTo>
                      <a:pt x="112" y="32"/>
                    </a:lnTo>
                    <a:lnTo>
                      <a:pt x="128" y="40"/>
                    </a:lnTo>
                    <a:lnTo>
                      <a:pt x="120" y="48"/>
                    </a:lnTo>
                    <a:lnTo>
                      <a:pt x="104" y="64"/>
                    </a:lnTo>
                    <a:lnTo>
                      <a:pt x="96" y="80"/>
                    </a:lnTo>
                    <a:lnTo>
                      <a:pt x="104" y="80"/>
                    </a:lnTo>
                    <a:lnTo>
                      <a:pt x="96" y="96"/>
                    </a:lnTo>
                    <a:lnTo>
                      <a:pt x="80" y="104"/>
                    </a:lnTo>
                    <a:lnTo>
                      <a:pt x="72" y="96"/>
                    </a:lnTo>
                    <a:lnTo>
                      <a:pt x="56" y="96"/>
                    </a:lnTo>
                    <a:lnTo>
                      <a:pt x="40" y="96"/>
                    </a:lnTo>
                    <a:lnTo>
                      <a:pt x="40" y="88"/>
                    </a:lnTo>
                    <a:lnTo>
                      <a:pt x="24" y="88"/>
                    </a:lnTo>
                    <a:lnTo>
                      <a:pt x="16" y="72"/>
                    </a:lnTo>
                    <a:lnTo>
                      <a:pt x="8" y="56"/>
                    </a:lnTo>
                    <a:lnTo>
                      <a:pt x="0" y="40"/>
                    </a:lnTo>
                    <a:lnTo>
                      <a:pt x="8" y="32"/>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3" name="Freeform 202">
                <a:extLst>
                  <a:ext uri="{FF2B5EF4-FFF2-40B4-BE49-F238E27FC236}">
                    <a16:creationId xmlns:a16="http://schemas.microsoft.com/office/drawing/2014/main" id="{177003B4-A09E-409E-AAE1-3C4BF3F77996}"/>
                  </a:ext>
                </a:extLst>
              </p:cNvPr>
              <p:cNvSpPr>
                <a:spLocks/>
              </p:cNvSpPr>
              <p:nvPr/>
            </p:nvSpPr>
            <p:spPr bwMode="auto">
              <a:xfrm>
                <a:off x="2345965" y="3107647"/>
                <a:ext cx="320592" cy="275653"/>
              </a:xfrm>
              <a:custGeom>
                <a:avLst/>
                <a:gdLst>
                  <a:gd name="T0" fmla="*/ 14417 w 129"/>
                  <a:gd name="T1" fmla="*/ 57644 h 105"/>
                  <a:gd name="T2" fmla="*/ 43252 w 129"/>
                  <a:gd name="T3" fmla="*/ 72054 h 105"/>
                  <a:gd name="T4" fmla="*/ 72087 w 129"/>
                  <a:gd name="T5" fmla="*/ 72054 h 105"/>
                  <a:gd name="T6" fmla="*/ 86505 w 129"/>
                  <a:gd name="T7" fmla="*/ 57644 h 105"/>
                  <a:gd name="T8" fmla="*/ 115339 w 129"/>
                  <a:gd name="T9" fmla="*/ 72054 h 105"/>
                  <a:gd name="T10" fmla="*/ 129757 w 129"/>
                  <a:gd name="T11" fmla="*/ 57644 h 105"/>
                  <a:gd name="T12" fmla="*/ 173009 w 129"/>
                  <a:gd name="T13" fmla="*/ 0 h 105"/>
                  <a:gd name="T14" fmla="*/ 216261 w 129"/>
                  <a:gd name="T15" fmla="*/ 0 h 105"/>
                  <a:gd name="T16" fmla="*/ 201844 w 129"/>
                  <a:gd name="T17" fmla="*/ 28822 h 105"/>
                  <a:gd name="T18" fmla="*/ 216261 w 129"/>
                  <a:gd name="T19" fmla="*/ 43233 h 105"/>
                  <a:gd name="T20" fmla="*/ 201844 w 129"/>
                  <a:gd name="T21" fmla="*/ 57644 h 105"/>
                  <a:gd name="T22" fmla="*/ 230679 w 129"/>
                  <a:gd name="T23" fmla="*/ 72054 h 105"/>
                  <a:gd name="T24" fmla="*/ 216261 w 129"/>
                  <a:gd name="T25" fmla="*/ 86465 h 105"/>
                  <a:gd name="T26" fmla="*/ 187427 w 129"/>
                  <a:gd name="T27" fmla="*/ 115287 h 105"/>
                  <a:gd name="T28" fmla="*/ 173009 w 129"/>
                  <a:gd name="T29" fmla="*/ 144109 h 105"/>
                  <a:gd name="T30" fmla="*/ 187427 w 129"/>
                  <a:gd name="T31" fmla="*/ 144109 h 105"/>
                  <a:gd name="T32" fmla="*/ 173009 w 129"/>
                  <a:gd name="T33" fmla="*/ 172931 h 105"/>
                  <a:gd name="T34" fmla="*/ 144174 w 129"/>
                  <a:gd name="T35" fmla="*/ 187342 h 105"/>
                  <a:gd name="T36" fmla="*/ 129757 w 129"/>
                  <a:gd name="T37" fmla="*/ 172931 h 105"/>
                  <a:gd name="T38" fmla="*/ 100922 w 129"/>
                  <a:gd name="T39" fmla="*/ 172931 h 105"/>
                  <a:gd name="T40" fmla="*/ 72087 w 129"/>
                  <a:gd name="T41" fmla="*/ 172931 h 105"/>
                  <a:gd name="T42" fmla="*/ 72087 w 129"/>
                  <a:gd name="T43" fmla="*/ 158520 h 105"/>
                  <a:gd name="T44" fmla="*/ 43252 w 129"/>
                  <a:gd name="T45" fmla="*/ 158520 h 105"/>
                  <a:gd name="T46" fmla="*/ 28835 w 129"/>
                  <a:gd name="T47" fmla="*/ 129698 h 105"/>
                  <a:gd name="T48" fmla="*/ 14417 w 129"/>
                  <a:gd name="T49" fmla="*/ 100876 h 105"/>
                  <a:gd name="T50" fmla="*/ 0 w 129"/>
                  <a:gd name="T51" fmla="*/ 72054 h 105"/>
                  <a:gd name="T52" fmla="*/ 14417 w 129"/>
                  <a:gd name="T53" fmla="*/ 57644 h 1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9"/>
                  <a:gd name="T82" fmla="*/ 0 h 105"/>
                  <a:gd name="T83" fmla="*/ 129 w 129"/>
                  <a:gd name="T84" fmla="*/ 105 h 10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9" h="105">
                    <a:moveTo>
                      <a:pt x="8" y="32"/>
                    </a:moveTo>
                    <a:lnTo>
                      <a:pt x="24" y="40"/>
                    </a:lnTo>
                    <a:lnTo>
                      <a:pt x="40" y="40"/>
                    </a:lnTo>
                    <a:lnTo>
                      <a:pt x="48" y="32"/>
                    </a:lnTo>
                    <a:lnTo>
                      <a:pt x="64" y="40"/>
                    </a:lnTo>
                    <a:lnTo>
                      <a:pt x="72" y="32"/>
                    </a:lnTo>
                    <a:lnTo>
                      <a:pt x="96" y="0"/>
                    </a:lnTo>
                    <a:lnTo>
                      <a:pt x="120" y="0"/>
                    </a:lnTo>
                    <a:lnTo>
                      <a:pt x="112" y="16"/>
                    </a:lnTo>
                    <a:lnTo>
                      <a:pt x="120" y="24"/>
                    </a:lnTo>
                    <a:lnTo>
                      <a:pt x="112" y="32"/>
                    </a:lnTo>
                    <a:lnTo>
                      <a:pt x="128" y="40"/>
                    </a:lnTo>
                    <a:lnTo>
                      <a:pt x="120" y="48"/>
                    </a:lnTo>
                    <a:lnTo>
                      <a:pt x="104" y="64"/>
                    </a:lnTo>
                    <a:lnTo>
                      <a:pt x="96" y="80"/>
                    </a:lnTo>
                    <a:lnTo>
                      <a:pt x="104" y="80"/>
                    </a:lnTo>
                    <a:lnTo>
                      <a:pt x="96" y="96"/>
                    </a:lnTo>
                    <a:lnTo>
                      <a:pt x="80" y="104"/>
                    </a:lnTo>
                    <a:lnTo>
                      <a:pt x="72" y="96"/>
                    </a:lnTo>
                    <a:lnTo>
                      <a:pt x="56" y="96"/>
                    </a:lnTo>
                    <a:lnTo>
                      <a:pt x="40" y="96"/>
                    </a:lnTo>
                    <a:lnTo>
                      <a:pt x="40" y="88"/>
                    </a:lnTo>
                    <a:lnTo>
                      <a:pt x="24" y="88"/>
                    </a:lnTo>
                    <a:lnTo>
                      <a:pt x="16" y="72"/>
                    </a:lnTo>
                    <a:lnTo>
                      <a:pt x="8" y="56"/>
                    </a:lnTo>
                    <a:lnTo>
                      <a:pt x="0" y="40"/>
                    </a:lnTo>
                    <a:lnTo>
                      <a:pt x="8" y="32"/>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4" name="Freeform 203">
                <a:extLst>
                  <a:ext uri="{FF2B5EF4-FFF2-40B4-BE49-F238E27FC236}">
                    <a16:creationId xmlns:a16="http://schemas.microsoft.com/office/drawing/2014/main" id="{9F9C0A07-B5B5-4C00-8FDB-765469C96CDA}"/>
                  </a:ext>
                </a:extLst>
              </p:cNvPr>
              <p:cNvSpPr>
                <a:spLocks/>
              </p:cNvSpPr>
              <p:nvPr/>
            </p:nvSpPr>
            <p:spPr bwMode="auto">
              <a:xfrm>
                <a:off x="3041823" y="3254661"/>
                <a:ext cx="320592" cy="296655"/>
              </a:xfrm>
              <a:custGeom>
                <a:avLst/>
                <a:gdLst>
                  <a:gd name="T0" fmla="*/ 230679 w 129"/>
                  <a:gd name="T1" fmla="*/ 57644 h 113"/>
                  <a:gd name="T2" fmla="*/ 230679 w 129"/>
                  <a:gd name="T3" fmla="*/ 57644 h 113"/>
                  <a:gd name="T4" fmla="*/ 230679 w 129"/>
                  <a:gd name="T5" fmla="*/ 115287 h 113"/>
                  <a:gd name="T6" fmla="*/ 230679 w 129"/>
                  <a:gd name="T7" fmla="*/ 201753 h 113"/>
                  <a:gd name="T8" fmla="*/ 201844 w 129"/>
                  <a:gd name="T9" fmla="*/ 172931 h 113"/>
                  <a:gd name="T10" fmla="*/ 158592 w 129"/>
                  <a:gd name="T11" fmla="*/ 187342 h 113"/>
                  <a:gd name="T12" fmla="*/ 173009 w 129"/>
                  <a:gd name="T13" fmla="*/ 158520 h 113"/>
                  <a:gd name="T14" fmla="*/ 158592 w 129"/>
                  <a:gd name="T15" fmla="*/ 129698 h 113"/>
                  <a:gd name="T16" fmla="*/ 57670 w 129"/>
                  <a:gd name="T17" fmla="*/ 72055 h 113"/>
                  <a:gd name="T18" fmla="*/ 43252 w 129"/>
                  <a:gd name="T19" fmla="*/ 86465 h 113"/>
                  <a:gd name="T20" fmla="*/ 43252 w 129"/>
                  <a:gd name="T21" fmla="*/ 72055 h 113"/>
                  <a:gd name="T22" fmla="*/ 28835 w 129"/>
                  <a:gd name="T23" fmla="*/ 57644 h 113"/>
                  <a:gd name="T24" fmla="*/ 57670 w 129"/>
                  <a:gd name="T25" fmla="*/ 57644 h 113"/>
                  <a:gd name="T26" fmla="*/ 72087 w 129"/>
                  <a:gd name="T27" fmla="*/ 43233 h 113"/>
                  <a:gd name="T28" fmla="*/ 28835 w 129"/>
                  <a:gd name="T29" fmla="*/ 43233 h 113"/>
                  <a:gd name="T30" fmla="*/ 14417 w 129"/>
                  <a:gd name="T31" fmla="*/ 28822 h 113"/>
                  <a:gd name="T32" fmla="*/ 0 w 129"/>
                  <a:gd name="T33" fmla="*/ 28822 h 113"/>
                  <a:gd name="T34" fmla="*/ 28835 w 129"/>
                  <a:gd name="T35" fmla="*/ 0 h 113"/>
                  <a:gd name="T36" fmla="*/ 43252 w 129"/>
                  <a:gd name="T37" fmla="*/ 0 h 113"/>
                  <a:gd name="T38" fmla="*/ 72087 w 129"/>
                  <a:gd name="T39" fmla="*/ 14411 h 113"/>
                  <a:gd name="T40" fmla="*/ 72087 w 129"/>
                  <a:gd name="T41" fmla="*/ 43233 h 113"/>
                  <a:gd name="T42" fmla="*/ 100922 w 129"/>
                  <a:gd name="T43" fmla="*/ 72055 h 113"/>
                  <a:gd name="T44" fmla="*/ 129757 w 129"/>
                  <a:gd name="T45" fmla="*/ 43233 h 113"/>
                  <a:gd name="T46" fmla="*/ 158592 w 129"/>
                  <a:gd name="T47" fmla="*/ 28822 h 113"/>
                  <a:gd name="T48" fmla="*/ 230679 w 129"/>
                  <a:gd name="T49" fmla="*/ 57644 h 1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9"/>
                  <a:gd name="T76" fmla="*/ 0 h 113"/>
                  <a:gd name="T77" fmla="*/ 129 w 129"/>
                  <a:gd name="T78" fmla="*/ 113 h 1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9" h="113">
                    <a:moveTo>
                      <a:pt x="128" y="32"/>
                    </a:moveTo>
                    <a:lnTo>
                      <a:pt x="128" y="32"/>
                    </a:lnTo>
                    <a:lnTo>
                      <a:pt x="128" y="64"/>
                    </a:lnTo>
                    <a:lnTo>
                      <a:pt x="128" y="112"/>
                    </a:lnTo>
                    <a:lnTo>
                      <a:pt x="112" y="96"/>
                    </a:lnTo>
                    <a:lnTo>
                      <a:pt x="88" y="104"/>
                    </a:lnTo>
                    <a:lnTo>
                      <a:pt x="96" y="88"/>
                    </a:lnTo>
                    <a:lnTo>
                      <a:pt x="88" y="72"/>
                    </a:lnTo>
                    <a:lnTo>
                      <a:pt x="32" y="40"/>
                    </a:lnTo>
                    <a:lnTo>
                      <a:pt x="24" y="48"/>
                    </a:lnTo>
                    <a:lnTo>
                      <a:pt x="24" y="40"/>
                    </a:lnTo>
                    <a:lnTo>
                      <a:pt x="16" y="32"/>
                    </a:lnTo>
                    <a:lnTo>
                      <a:pt x="32" y="32"/>
                    </a:lnTo>
                    <a:lnTo>
                      <a:pt x="40" y="24"/>
                    </a:lnTo>
                    <a:lnTo>
                      <a:pt x="16" y="24"/>
                    </a:lnTo>
                    <a:lnTo>
                      <a:pt x="8" y="16"/>
                    </a:lnTo>
                    <a:lnTo>
                      <a:pt x="0" y="16"/>
                    </a:lnTo>
                    <a:lnTo>
                      <a:pt x="16" y="0"/>
                    </a:lnTo>
                    <a:lnTo>
                      <a:pt x="24" y="0"/>
                    </a:lnTo>
                    <a:lnTo>
                      <a:pt x="40" y="8"/>
                    </a:lnTo>
                    <a:lnTo>
                      <a:pt x="40" y="24"/>
                    </a:lnTo>
                    <a:lnTo>
                      <a:pt x="56" y="40"/>
                    </a:lnTo>
                    <a:lnTo>
                      <a:pt x="72" y="24"/>
                    </a:lnTo>
                    <a:lnTo>
                      <a:pt x="88" y="16"/>
                    </a:lnTo>
                    <a:lnTo>
                      <a:pt x="128" y="32"/>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5" name="Freeform 204">
                <a:extLst>
                  <a:ext uri="{FF2B5EF4-FFF2-40B4-BE49-F238E27FC236}">
                    <a16:creationId xmlns:a16="http://schemas.microsoft.com/office/drawing/2014/main" id="{90B4B2D9-EA95-44E5-A9F8-430E634FE5B7}"/>
                  </a:ext>
                </a:extLst>
              </p:cNvPr>
              <p:cNvSpPr>
                <a:spLocks/>
              </p:cNvSpPr>
              <p:nvPr/>
            </p:nvSpPr>
            <p:spPr bwMode="auto">
              <a:xfrm>
                <a:off x="3041823" y="3254661"/>
                <a:ext cx="320592" cy="296655"/>
              </a:xfrm>
              <a:custGeom>
                <a:avLst/>
                <a:gdLst>
                  <a:gd name="T0" fmla="*/ 230679 w 129"/>
                  <a:gd name="T1" fmla="*/ 57644 h 113"/>
                  <a:gd name="T2" fmla="*/ 230679 w 129"/>
                  <a:gd name="T3" fmla="*/ 115287 h 113"/>
                  <a:gd name="T4" fmla="*/ 230679 w 129"/>
                  <a:gd name="T5" fmla="*/ 201753 h 113"/>
                  <a:gd name="T6" fmla="*/ 201844 w 129"/>
                  <a:gd name="T7" fmla="*/ 172931 h 113"/>
                  <a:gd name="T8" fmla="*/ 158592 w 129"/>
                  <a:gd name="T9" fmla="*/ 187342 h 113"/>
                  <a:gd name="T10" fmla="*/ 173009 w 129"/>
                  <a:gd name="T11" fmla="*/ 158520 h 113"/>
                  <a:gd name="T12" fmla="*/ 158592 w 129"/>
                  <a:gd name="T13" fmla="*/ 129698 h 113"/>
                  <a:gd name="T14" fmla="*/ 57670 w 129"/>
                  <a:gd name="T15" fmla="*/ 72055 h 113"/>
                  <a:gd name="T16" fmla="*/ 43252 w 129"/>
                  <a:gd name="T17" fmla="*/ 86465 h 113"/>
                  <a:gd name="T18" fmla="*/ 43252 w 129"/>
                  <a:gd name="T19" fmla="*/ 72055 h 113"/>
                  <a:gd name="T20" fmla="*/ 28835 w 129"/>
                  <a:gd name="T21" fmla="*/ 57644 h 113"/>
                  <a:gd name="T22" fmla="*/ 57670 w 129"/>
                  <a:gd name="T23" fmla="*/ 57644 h 113"/>
                  <a:gd name="T24" fmla="*/ 72087 w 129"/>
                  <a:gd name="T25" fmla="*/ 43233 h 113"/>
                  <a:gd name="T26" fmla="*/ 28835 w 129"/>
                  <a:gd name="T27" fmla="*/ 43233 h 113"/>
                  <a:gd name="T28" fmla="*/ 14417 w 129"/>
                  <a:gd name="T29" fmla="*/ 28822 h 113"/>
                  <a:gd name="T30" fmla="*/ 0 w 129"/>
                  <a:gd name="T31" fmla="*/ 28822 h 113"/>
                  <a:gd name="T32" fmla="*/ 28835 w 129"/>
                  <a:gd name="T33" fmla="*/ 0 h 113"/>
                  <a:gd name="T34" fmla="*/ 43252 w 129"/>
                  <a:gd name="T35" fmla="*/ 0 h 113"/>
                  <a:gd name="T36" fmla="*/ 72087 w 129"/>
                  <a:gd name="T37" fmla="*/ 14411 h 113"/>
                  <a:gd name="T38" fmla="*/ 72087 w 129"/>
                  <a:gd name="T39" fmla="*/ 43233 h 113"/>
                  <a:gd name="T40" fmla="*/ 100922 w 129"/>
                  <a:gd name="T41" fmla="*/ 72055 h 113"/>
                  <a:gd name="T42" fmla="*/ 129757 w 129"/>
                  <a:gd name="T43" fmla="*/ 43233 h 113"/>
                  <a:gd name="T44" fmla="*/ 158592 w 129"/>
                  <a:gd name="T45" fmla="*/ 28822 h 113"/>
                  <a:gd name="T46" fmla="*/ 230679 w 129"/>
                  <a:gd name="T47" fmla="*/ 57644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9"/>
                  <a:gd name="T73" fmla="*/ 0 h 113"/>
                  <a:gd name="T74" fmla="*/ 129 w 129"/>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9" h="113">
                    <a:moveTo>
                      <a:pt x="128" y="32"/>
                    </a:moveTo>
                    <a:lnTo>
                      <a:pt x="128" y="64"/>
                    </a:lnTo>
                    <a:lnTo>
                      <a:pt x="128" y="112"/>
                    </a:lnTo>
                    <a:lnTo>
                      <a:pt x="112" y="96"/>
                    </a:lnTo>
                    <a:lnTo>
                      <a:pt x="88" y="104"/>
                    </a:lnTo>
                    <a:lnTo>
                      <a:pt x="96" y="88"/>
                    </a:lnTo>
                    <a:lnTo>
                      <a:pt x="88" y="72"/>
                    </a:lnTo>
                    <a:lnTo>
                      <a:pt x="32" y="40"/>
                    </a:lnTo>
                    <a:lnTo>
                      <a:pt x="24" y="48"/>
                    </a:lnTo>
                    <a:lnTo>
                      <a:pt x="24" y="40"/>
                    </a:lnTo>
                    <a:lnTo>
                      <a:pt x="16" y="32"/>
                    </a:lnTo>
                    <a:lnTo>
                      <a:pt x="32" y="32"/>
                    </a:lnTo>
                    <a:lnTo>
                      <a:pt x="40" y="24"/>
                    </a:lnTo>
                    <a:lnTo>
                      <a:pt x="16" y="24"/>
                    </a:lnTo>
                    <a:lnTo>
                      <a:pt x="8" y="16"/>
                    </a:lnTo>
                    <a:lnTo>
                      <a:pt x="0" y="16"/>
                    </a:lnTo>
                    <a:lnTo>
                      <a:pt x="16" y="0"/>
                    </a:lnTo>
                    <a:lnTo>
                      <a:pt x="24" y="0"/>
                    </a:lnTo>
                    <a:lnTo>
                      <a:pt x="40" y="8"/>
                    </a:lnTo>
                    <a:lnTo>
                      <a:pt x="40" y="24"/>
                    </a:lnTo>
                    <a:lnTo>
                      <a:pt x="56" y="40"/>
                    </a:lnTo>
                    <a:lnTo>
                      <a:pt x="72" y="24"/>
                    </a:lnTo>
                    <a:lnTo>
                      <a:pt x="88" y="16"/>
                    </a:lnTo>
                    <a:lnTo>
                      <a:pt x="128" y="32"/>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6" name="Freeform 205">
                <a:extLst>
                  <a:ext uri="{FF2B5EF4-FFF2-40B4-BE49-F238E27FC236}">
                    <a16:creationId xmlns:a16="http://schemas.microsoft.com/office/drawing/2014/main" id="{42A9EDE3-1AA7-4D20-96E2-E19EE0D5CAC9}"/>
                  </a:ext>
                </a:extLst>
              </p:cNvPr>
              <p:cNvSpPr>
                <a:spLocks/>
              </p:cNvSpPr>
              <p:nvPr/>
            </p:nvSpPr>
            <p:spPr bwMode="auto">
              <a:xfrm>
                <a:off x="3359928" y="3338670"/>
                <a:ext cx="300711" cy="275653"/>
              </a:xfrm>
              <a:custGeom>
                <a:avLst/>
                <a:gdLst>
                  <a:gd name="T0" fmla="*/ 0 w 121"/>
                  <a:gd name="T1" fmla="*/ 144109 h 105"/>
                  <a:gd name="T2" fmla="*/ 0 w 121"/>
                  <a:gd name="T3" fmla="*/ 144109 h 105"/>
                  <a:gd name="T4" fmla="*/ 0 w 121"/>
                  <a:gd name="T5" fmla="*/ 57644 h 105"/>
                  <a:gd name="T6" fmla="*/ 0 w 121"/>
                  <a:gd name="T7" fmla="*/ 0 h 105"/>
                  <a:gd name="T8" fmla="*/ 57670 w 121"/>
                  <a:gd name="T9" fmla="*/ 14411 h 105"/>
                  <a:gd name="T10" fmla="*/ 100922 w 121"/>
                  <a:gd name="T11" fmla="*/ 43233 h 105"/>
                  <a:gd name="T12" fmla="*/ 100922 w 121"/>
                  <a:gd name="T13" fmla="*/ 57644 h 105"/>
                  <a:gd name="T14" fmla="*/ 158592 w 121"/>
                  <a:gd name="T15" fmla="*/ 86465 h 105"/>
                  <a:gd name="T16" fmla="*/ 129757 w 121"/>
                  <a:gd name="T17" fmla="*/ 100876 h 105"/>
                  <a:gd name="T18" fmla="*/ 144175 w 121"/>
                  <a:gd name="T19" fmla="*/ 100876 h 105"/>
                  <a:gd name="T20" fmla="*/ 158592 w 121"/>
                  <a:gd name="T21" fmla="*/ 115287 h 105"/>
                  <a:gd name="T22" fmla="*/ 173009 w 121"/>
                  <a:gd name="T23" fmla="*/ 144109 h 105"/>
                  <a:gd name="T24" fmla="*/ 187427 w 121"/>
                  <a:gd name="T25" fmla="*/ 144109 h 105"/>
                  <a:gd name="T26" fmla="*/ 187427 w 121"/>
                  <a:gd name="T27" fmla="*/ 158520 h 105"/>
                  <a:gd name="T28" fmla="*/ 216262 w 121"/>
                  <a:gd name="T29" fmla="*/ 172931 h 105"/>
                  <a:gd name="T30" fmla="*/ 216262 w 121"/>
                  <a:gd name="T31" fmla="*/ 187342 h 105"/>
                  <a:gd name="T32" fmla="*/ 144175 w 121"/>
                  <a:gd name="T33" fmla="*/ 172931 h 105"/>
                  <a:gd name="T34" fmla="*/ 115340 w 121"/>
                  <a:gd name="T35" fmla="*/ 115287 h 105"/>
                  <a:gd name="T36" fmla="*/ 86505 w 121"/>
                  <a:gd name="T37" fmla="*/ 115287 h 105"/>
                  <a:gd name="T38" fmla="*/ 72087 w 121"/>
                  <a:gd name="T39" fmla="*/ 115287 h 105"/>
                  <a:gd name="T40" fmla="*/ 43252 w 121"/>
                  <a:gd name="T41" fmla="*/ 129698 h 105"/>
                  <a:gd name="T42" fmla="*/ 57670 w 121"/>
                  <a:gd name="T43" fmla="*/ 144109 h 105"/>
                  <a:gd name="T44" fmla="*/ 28835 w 121"/>
                  <a:gd name="T45" fmla="*/ 144109 h 105"/>
                  <a:gd name="T46" fmla="*/ 0 w 121"/>
                  <a:gd name="T47" fmla="*/ 144109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
                  <a:gd name="T73" fmla="*/ 0 h 105"/>
                  <a:gd name="T74" fmla="*/ 121 w 121"/>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 h="105">
                    <a:moveTo>
                      <a:pt x="0" y="80"/>
                    </a:moveTo>
                    <a:lnTo>
                      <a:pt x="0" y="80"/>
                    </a:lnTo>
                    <a:lnTo>
                      <a:pt x="0" y="32"/>
                    </a:lnTo>
                    <a:lnTo>
                      <a:pt x="0" y="0"/>
                    </a:lnTo>
                    <a:lnTo>
                      <a:pt x="32" y="8"/>
                    </a:lnTo>
                    <a:lnTo>
                      <a:pt x="56" y="24"/>
                    </a:lnTo>
                    <a:lnTo>
                      <a:pt x="56" y="32"/>
                    </a:lnTo>
                    <a:lnTo>
                      <a:pt x="88" y="48"/>
                    </a:lnTo>
                    <a:lnTo>
                      <a:pt x="72" y="56"/>
                    </a:lnTo>
                    <a:lnTo>
                      <a:pt x="80" y="56"/>
                    </a:lnTo>
                    <a:lnTo>
                      <a:pt x="88" y="64"/>
                    </a:lnTo>
                    <a:lnTo>
                      <a:pt x="96" y="80"/>
                    </a:lnTo>
                    <a:lnTo>
                      <a:pt x="104" y="80"/>
                    </a:lnTo>
                    <a:lnTo>
                      <a:pt x="104" y="88"/>
                    </a:lnTo>
                    <a:lnTo>
                      <a:pt x="120" y="96"/>
                    </a:lnTo>
                    <a:lnTo>
                      <a:pt x="120" y="104"/>
                    </a:lnTo>
                    <a:lnTo>
                      <a:pt x="80" y="96"/>
                    </a:lnTo>
                    <a:lnTo>
                      <a:pt x="64" y="64"/>
                    </a:lnTo>
                    <a:lnTo>
                      <a:pt x="48" y="64"/>
                    </a:lnTo>
                    <a:lnTo>
                      <a:pt x="40" y="64"/>
                    </a:lnTo>
                    <a:lnTo>
                      <a:pt x="24" y="72"/>
                    </a:lnTo>
                    <a:lnTo>
                      <a:pt x="32" y="80"/>
                    </a:lnTo>
                    <a:lnTo>
                      <a:pt x="16" y="80"/>
                    </a:lnTo>
                    <a:lnTo>
                      <a:pt x="0" y="8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7" name="Freeform 206">
                <a:extLst>
                  <a:ext uri="{FF2B5EF4-FFF2-40B4-BE49-F238E27FC236}">
                    <a16:creationId xmlns:a16="http://schemas.microsoft.com/office/drawing/2014/main" id="{A28C3043-10EF-4D48-95C5-1BF3DD34088A}"/>
                  </a:ext>
                </a:extLst>
              </p:cNvPr>
              <p:cNvSpPr>
                <a:spLocks/>
              </p:cNvSpPr>
              <p:nvPr/>
            </p:nvSpPr>
            <p:spPr bwMode="auto">
              <a:xfrm>
                <a:off x="3359928" y="3338670"/>
                <a:ext cx="300711" cy="275653"/>
              </a:xfrm>
              <a:custGeom>
                <a:avLst/>
                <a:gdLst>
                  <a:gd name="T0" fmla="*/ 0 w 121"/>
                  <a:gd name="T1" fmla="*/ 144109 h 105"/>
                  <a:gd name="T2" fmla="*/ 0 w 121"/>
                  <a:gd name="T3" fmla="*/ 57644 h 105"/>
                  <a:gd name="T4" fmla="*/ 0 w 121"/>
                  <a:gd name="T5" fmla="*/ 0 h 105"/>
                  <a:gd name="T6" fmla="*/ 57670 w 121"/>
                  <a:gd name="T7" fmla="*/ 14411 h 105"/>
                  <a:gd name="T8" fmla="*/ 100922 w 121"/>
                  <a:gd name="T9" fmla="*/ 43233 h 105"/>
                  <a:gd name="T10" fmla="*/ 100922 w 121"/>
                  <a:gd name="T11" fmla="*/ 57644 h 105"/>
                  <a:gd name="T12" fmla="*/ 158592 w 121"/>
                  <a:gd name="T13" fmla="*/ 86465 h 105"/>
                  <a:gd name="T14" fmla="*/ 129757 w 121"/>
                  <a:gd name="T15" fmla="*/ 100876 h 105"/>
                  <a:gd name="T16" fmla="*/ 144175 w 121"/>
                  <a:gd name="T17" fmla="*/ 100876 h 105"/>
                  <a:gd name="T18" fmla="*/ 158592 w 121"/>
                  <a:gd name="T19" fmla="*/ 115287 h 105"/>
                  <a:gd name="T20" fmla="*/ 173009 w 121"/>
                  <a:gd name="T21" fmla="*/ 144109 h 105"/>
                  <a:gd name="T22" fmla="*/ 187427 w 121"/>
                  <a:gd name="T23" fmla="*/ 144109 h 105"/>
                  <a:gd name="T24" fmla="*/ 187427 w 121"/>
                  <a:gd name="T25" fmla="*/ 158520 h 105"/>
                  <a:gd name="T26" fmla="*/ 216262 w 121"/>
                  <a:gd name="T27" fmla="*/ 172931 h 105"/>
                  <a:gd name="T28" fmla="*/ 216262 w 121"/>
                  <a:gd name="T29" fmla="*/ 187342 h 105"/>
                  <a:gd name="T30" fmla="*/ 144175 w 121"/>
                  <a:gd name="T31" fmla="*/ 172931 h 105"/>
                  <a:gd name="T32" fmla="*/ 115340 w 121"/>
                  <a:gd name="T33" fmla="*/ 115287 h 105"/>
                  <a:gd name="T34" fmla="*/ 86505 w 121"/>
                  <a:gd name="T35" fmla="*/ 115287 h 105"/>
                  <a:gd name="T36" fmla="*/ 72087 w 121"/>
                  <a:gd name="T37" fmla="*/ 115287 h 105"/>
                  <a:gd name="T38" fmla="*/ 43252 w 121"/>
                  <a:gd name="T39" fmla="*/ 129698 h 105"/>
                  <a:gd name="T40" fmla="*/ 57670 w 121"/>
                  <a:gd name="T41" fmla="*/ 144109 h 105"/>
                  <a:gd name="T42" fmla="*/ 28835 w 121"/>
                  <a:gd name="T43" fmla="*/ 144109 h 105"/>
                  <a:gd name="T44" fmla="*/ 0 w 121"/>
                  <a:gd name="T45" fmla="*/ 144109 h 1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1"/>
                  <a:gd name="T70" fmla="*/ 0 h 105"/>
                  <a:gd name="T71" fmla="*/ 121 w 121"/>
                  <a:gd name="T72" fmla="*/ 105 h 1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1" h="105">
                    <a:moveTo>
                      <a:pt x="0" y="80"/>
                    </a:moveTo>
                    <a:lnTo>
                      <a:pt x="0" y="32"/>
                    </a:lnTo>
                    <a:lnTo>
                      <a:pt x="0" y="0"/>
                    </a:lnTo>
                    <a:lnTo>
                      <a:pt x="32" y="8"/>
                    </a:lnTo>
                    <a:lnTo>
                      <a:pt x="56" y="24"/>
                    </a:lnTo>
                    <a:lnTo>
                      <a:pt x="56" y="32"/>
                    </a:lnTo>
                    <a:lnTo>
                      <a:pt x="88" y="48"/>
                    </a:lnTo>
                    <a:lnTo>
                      <a:pt x="72" y="56"/>
                    </a:lnTo>
                    <a:lnTo>
                      <a:pt x="80" y="56"/>
                    </a:lnTo>
                    <a:lnTo>
                      <a:pt x="88" y="64"/>
                    </a:lnTo>
                    <a:lnTo>
                      <a:pt x="96" y="80"/>
                    </a:lnTo>
                    <a:lnTo>
                      <a:pt x="104" y="80"/>
                    </a:lnTo>
                    <a:lnTo>
                      <a:pt x="104" y="88"/>
                    </a:lnTo>
                    <a:lnTo>
                      <a:pt x="120" y="96"/>
                    </a:lnTo>
                    <a:lnTo>
                      <a:pt x="120" y="104"/>
                    </a:lnTo>
                    <a:lnTo>
                      <a:pt x="80" y="96"/>
                    </a:lnTo>
                    <a:lnTo>
                      <a:pt x="64" y="64"/>
                    </a:lnTo>
                    <a:lnTo>
                      <a:pt x="48" y="64"/>
                    </a:lnTo>
                    <a:lnTo>
                      <a:pt x="40" y="64"/>
                    </a:lnTo>
                    <a:lnTo>
                      <a:pt x="24" y="72"/>
                    </a:lnTo>
                    <a:lnTo>
                      <a:pt x="32" y="80"/>
                    </a:lnTo>
                    <a:lnTo>
                      <a:pt x="16" y="80"/>
                    </a:lnTo>
                    <a:lnTo>
                      <a:pt x="0" y="8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8" name="Freeform 207">
                <a:extLst>
                  <a:ext uri="{FF2B5EF4-FFF2-40B4-BE49-F238E27FC236}">
                    <a16:creationId xmlns:a16="http://schemas.microsoft.com/office/drawing/2014/main" id="{362F5E0F-158B-4CFE-B95B-6CB18C75A89D}"/>
                  </a:ext>
                </a:extLst>
              </p:cNvPr>
              <p:cNvSpPr>
                <a:spLocks/>
              </p:cNvSpPr>
              <p:nvPr/>
            </p:nvSpPr>
            <p:spPr bwMode="auto">
              <a:xfrm>
                <a:off x="2902651" y="1868518"/>
                <a:ext cx="101894" cy="170644"/>
              </a:xfrm>
              <a:custGeom>
                <a:avLst/>
                <a:gdLst>
                  <a:gd name="T0" fmla="*/ 0 w 41"/>
                  <a:gd name="T1" fmla="*/ 28822 h 65"/>
                  <a:gd name="T2" fmla="*/ 0 w 41"/>
                  <a:gd name="T3" fmla="*/ 28822 h 65"/>
                  <a:gd name="T4" fmla="*/ 43252 w 41"/>
                  <a:gd name="T5" fmla="*/ 0 h 65"/>
                  <a:gd name="T6" fmla="*/ 57669 w 41"/>
                  <a:gd name="T7" fmla="*/ 28822 h 65"/>
                  <a:gd name="T8" fmla="*/ 72087 w 41"/>
                  <a:gd name="T9" fmla="*/ 72055 h 65"/>
                  <a:gd name="T10" fmla="*/ 57669 w 41"/>
                  <a:gd name="T11" fmla="*/ 100877 h 65"/>
                  <a:gd name="T12" fmla="*/ 0 w 41"/>
                  <a:gd name="T13" fmla="*/ 115288 h 65"/>
                  <a:gd name="T14" fmla="*/ 0 w 41"/>
                  <a:gd name="T15" fmla="*/ 100877 h 65"/>
                  <a:gd name="T16" fmla="*/ 0 w 41"/>
                  <a:gd name="T17" fmla="*/ 86466 h 65"/>
                  <a:gd name="T18" fmla="*/ 0 w 41"/>
                  <a:gd name="T19" fmla="*/ 43233 h 65"/>
                  <a:gd name="T20" fmla="*/ 0 w 41"/>
                  <a:gd name="T21" fmla="*/ 28822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65"/>
                  <a:gd name="T35" fmla="*/ 41 w 41"/>
                  <a:gd name="T36" fmla="*/ 65 h 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65">
                    <a:moveTo>
                      <a:pt x="0" y="16"/>
                    </a:moveTo>
                    <a:lnTo>
                      <a:pt x="0" y="16"/>
                    </a:lnTo>
                    <a:lnTo>
                      <a:pt x="24" y="0"/>
                    </a:lnTo>
                    <a:lnTo>
                      <a:pt x="32" y="16"/>
                    </a:lnTo>
                    <a:lnTo>
                      <a:pt x="40" y="40"/>
                    </a:lnTo>
                    <a:lnTo>
                      <a:pt x="32" y="56"/>
                    </a:lnTo>
                    <a:lnTo>
                      <a:pt x="0" y="64"/>
                    </a:lnTo>
                    <a:lnTo>
                      <a:pt x="0" y="56"/>
                    </a:lnTo>
                    <a:lnTo>
                      <a:pt x="0" y="48"/>
                    </a:lnTo>
                    <a:lnTo>
                      <a:pt x="0" y="24"/>
                    </a:lnTo>
                    <a:lnTo>
                      <a:pt x="0" y="16"/>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59" name="Freeform 208">
                <a:extLst>
                  <a:ext uri="{FF2B5EF4-FFF2-40B4-BE49-F238E27FC236}">
                    <a16:creationId xmlns:a16="http://schemas.microsoft.com/office/drawing/2014/main" id="{00E68DDC-FFF8-4685-BABB-3882D5668126}"/>
                  </a:ext>
                </a:extLst>
              </p:cNvPr>
              <p:cNvSpPr>
                <a:spLocks/>
              </p:cNvSpPr>
              <p:nvPr/>
            </p:nvSpPr>
            <p:spPr bwMode="auto">
              <a:xfrm>
                <a:off x="2902651" y="1868518"/>
                <a:ext cx="101894" cy="170644"/>
              </a:xfrm>
              <a:custGeom>
                <a:avLst/>
                <a:gdLst>
                  <a:gd name="T0" fmla="*/ 0 w 41"/>
                  <a:gd name="T1" fmla="*/ 28822 h 65"/>
                  <a:gd name="T2" fmla="*/ 43252 w 41"/>
                  <a:gd name="T3" fmla="*/ 0 h 65"/>
                  <a:gd name="T4" fmla="*/ 57669 w 41"/>
                  <a:gd name="T5" fmla="*/ 28822 h 65"/>
                  <a:gd name="T6" fmla="*/ 72087 w 41"/>
                  <a:gd name="T7" fmla="*/ 72055 h 65"/>
                  <a:gd name="T8" fmla="*/ 57669 w 41"/>
                  <a:gd name="T9" fmla="*/ 100877 h 65"/>
                  <a:gd name="T10" fmla="*/ 0 w 41"/>
                  <a:gd name="T11" fmla="*/ 115288 h 65"/>
                  <a:gd name="T12" fmla="*/ 0 w 41"/>
                  <a:gd name="T13" fmla="*/ 100877 h 65"/>
                  <a:gd name="T14" fmla="*/ 0 w 41"/>
                  <a:gd name="T15" fmla="*/ 86466 h 65"/>
                  <a:gd name="T16" fmla="*/ 0 w 41"/>
                  <a:gd name="T17" fmla="*/ 43233 h 65"/>
                  <a:gd name="T18" fmla="*/ 0 w 41"/>
                  <a:gd name="T19" fmla="*/ 28822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65"/>
                  <a:gd name="T32" fmla="*/ 41 w 41"/>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65">
                    <a:moveTo>
                      <a:pt x="0" y="16"/>
                    </a:moveTo>
                    <a:lnTo>
                      <a:pt x="24" y="0"/>
                    </a:lnTo>
                    <a:lnTo>
                      <a:pt x="32" y="16"/>
                    </a:lnTo>
                    <a:lnTo>
                      <a:pt x="40" y="40"/>
                    </a:lnTo>
                    <a:lnTo>
                      <a:pt x="32" y="56"/>
                    </a:lnTo>
                    <a:lnTo>
                      <a:pt x="0" y="64"/>
                    </a:lnTo>
                    <a:lnTo>
                      <a:pt x="0" y="56"/>
                    </a:lnTo>
                    <a:lnTo>
                      <a:pt x="0" y="48"/>
                    </a:lnTo>
                    <a:lnTo>
                      <a:pt x="0" y="24"/>
                    </a:lnTo>
                    <a:lnTo>
                      <a:pt x="0" y="16"/>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60" name="Freeform 209">
                <a:extLst>
                  <a:ext uri="{FF2B5EF4-FFF2-40B4-BE49-F238E27FC236}">
                    <a16:creationId xmlns:a16="http://schemas.microsoft.com/office/drawing/2014/main" id="{362362B3-3B37-431D-9D91-6A4F3971296A}"/>
                  </a:ext>
                </a:extLst>
              </p:cNvPr>
              <p:cNvSpPr>
                <a:spLocks/>
              </p:cNvSpPr>
              <p:nvPr/>
            </p:nvSpPr>
            <p:spPr bwMode="auto">
              <a:xfrm>
                <a:off x="2843005" y="1700500"/>
                <a:ext cx="201302" cy="212646"/>
              </a:xfrm>
              <a:custGeom>
                <a:avLst/>
                <a:gdLst>
                  <a:gd name="T0" fmla="*/ 144174 w 81"/>
                  <a:gd name="T1" fmla="*/ 0 h 81"/>
                  <a:gd name="T2" fmla="*/ 144174 w 81"/>
                  <a:gd name="T3" fmla="*/ 0 h 81"/>
                  <a:gd name="T4" fmla="*/ 129756 w 81"/>
                  <a:gd name="T5" fmla="*/ 0 h 81"/>
                  <a:gd name="T6" fmla="*/ 100922 w 81"/>
                  <a:gd name="T7" fmla="*/ 14411 h 81"/>
                  <a:gd name="T8" fmla="*/ 86504 w 81"/>
                  <a:gd name="T9" fmla="*/ 14411 h 81"/>
                  <a:gd name="T10" fmla="*/ 72087 w 81"/>
                  <a:gd name="T11" fmla="*/ 28822 h 81"/>
                  <a:gd name="T12" fmla="*/ 57670 w 81"/>
                  <a:gd name="T13" fmla="*/ 28822 h 81"/>
                  <a:gd name="T14" fmla="*/ 0 w 81"/>
                  <a:gd name="T15" fmla="*/ 72054 h 81"/>
                  <a:gd name="T16" fmla="*/ 0 w 81"/>
                  <a:gd name="T17" fmla="*/ 86465 h 81"/>
                  <a:gd name="T18" fmla="*/ 14417 w 81"/>
                  <a:gd name="T19" fmla="*/ 86465 h 81"/>
                  <a:gd name="T20" fmla="*/ 0 w 81"/>
                  <a:gd name="T21" fmla="*/ 129698 h 81"/>
                  <a:gd name="T22" fmla="*/ 14417 w 81"/>
                  <a:gd name="T23" fmla="*/ 144109 h 81"/>
                  <a:gd name="T24" fmla="*/ 28835 w 81"/>
                  <a:gd name="T25" fmla="*/ 144109 h 81"/>
                  <a:gd name="T26" fmla="*/ 43252 w 81"/>
                  <a:gd name="T27" fmla="*/ 144109 h 81"/>
                  <a:gd name="T28" fmla="*/ 86504 w 81"/>
                  <a:gd name="T29" fmla="*/ 115287 h 81"/>
                  <a:gd name="T30" fmla="*/ 57670 w 81"/>
                  <a:gd name="T31" fmla="*/ 100876 h 81"/>
                  <a:gd name="T32" fmla="*/ 57670 w 81"/>
                  <a:gd name="T33" fmla="*/ 86465 h 81"/>
                  <a:gd name="T34" fmla="*/ 115339 w 81"/>
                  <a:gd name="T35" fmla="*/ 57643 h 81"/>
                  <a:gd name="T36" fmla="*/ 115339 w 81"/>
                  <a:gd name="T37" fmla="*/ 28822 h 81"/>
                  <a:gd name="T38" fmla="*/ 144174 w 81"/>
                  <a:gd name="T39" fmla="*/ 0 h 8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1"/>
                  <a:gd name="T61" fmla="*/ 0 h 81"/>
                  <a:gd name="T62" fmla="*/ 81 w 81"/>
                  <a:gd name="T63" fmla="*/ 81 h 8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1" h="81">
                    <a:moveTo>
                      <a:pt x="80" y="0"/>
                    </a:moveTo>
                    <a:lnTo>
                      <a:pt x="80" y="0"/>
                    </a:lnTo>
                    <a:lnTo>
                      <a:pt x="72" y="0"/>
                    </a:lnTo>
                    <a:lnTo>
                      <a:pt x="56" y="8"/>
                    </a:lnTo>
                    <a:lnTo>
                      <a:pt x="48" y="8"/>
                    </a:lnTo>
                    <a:lnTo>
                      <a:pt x="40" y="16"/>
                    </a:lnTo>
                    <a:lnTo>
                      <a:pt x="32" y="16"/>
                    </a:lnTo>
                    <a:lnTo>
                      <a:pt x="0" y="40"/>
                    </a:lnTo>
                    <a:lnTo>
                      <a:pt x="0" y="48"/>
                    </a:lnTo>
                    <a:lnTo>
                      <a:pt x="8" y="48"/>
                    </a:lnTo>
                    <a:lnTo>
                      <a:pt x="0" y="72"/>
                    </a:lnTo>
                    <a:lnTo>
                      <a:pt x="8" y="80"/>
                    </a:lnTo>
                    <a:lnTo>
                      <a:pt x="16" y="80"/>
                    </a:lnTo>
                    <a:lnTo>
                      <a:pt x="24" y="80"/>
                    </a:lnTo>
                    <a:lnTo>
                      <a:pt x="48" y="64"/>
                    </a:lnTo>
                    <a:lnTo>
                      <a:pt x="32" y="56"/>
                    </a:lnTo>
                    <a:lnTo>
                      <a:pt x="32" y="48"/>
                    </a:lnTo>
                    <a:lnTo>
                      <a:pt x="64" y="32"/>
                    </a:lnTo>
                    <a:lnTo>
                      <a:pt x="64" y="16"/>
                    </a:lnTo>
                    <a:lnTo>
                      <a:pt x="80" y="0"/>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61" name="Freeform 210">
                <a:extLst>
                  <a:ext uri="{FF2B5EF4-FFF2-40B4-BE49-F238E27FC236}">
                    <a16:creationId xmlns:a16="http://schemas.microsoft.com/office/drawing/2014/main" id="{680B357C-F3F8-4013-B81C-98CA641DE367}"/>
                  </a:ext>
                </a:extLst>
              </p:cNvPr>
              <p:cNvSpPr>
                <a:spLocks/>
              </p:cNvSpPr>
              <p:nvPr/>
            </p:nvSpPr>
            <p:spPr bwMode="auto">
              <a:xfrm>
                <a:off x="2843005" y="1700500"/>
                <a:ext cx="201302" cy="212646"/>
              </a:xfrm>
              <a:custGeom>
                <a:avLst/>
                <a:gdLst>
                  <a:gd name="T0" fmla="*/ 144174 w 81"/>
                  <a:gd name="T1" fmla="*/ 0 h 81"/>
                  <a:gd name="T2" fmla="*/ 129756 w 81"/>
                  <a:gd name="T3" fmla="*/ 0 h 81"/>
                  <a:gd name="T4" fmla="*/ 100922 w 81"/>
                  <a:gd name="T5" fmla="*/ 14411 h 81"/>
                  <a:gd name="T6" fmla="*/ 86504 w 81"/>
                  <a:gd name="T7" fmla="*/ 14411 h 81"/>
                  <a:gd name="T8" fmla="*/ 72087 w 81"/>
                  <a:gd name="T9" fmla="*/ 28822 h 81"/>
                  <a:gd name="T10" fmla="*/ 57670 w 81"/>
                  <a:gd name="T11" fmla="*/ 28822 h 81"/>
                  <a:gd name="T12" fmla="*/ 0 w 81"/>
                  <a:gd name="T13" fmla="*/ 72054 h 81"/>
                  <a:gd name="T14" fmla="*/ 0 w 81"/>
                  <a:gd name="T15" fmla="*/ 86465 h 81"/>
                  <a:gd name="T16" fmla="*/ 14417 w 81"/>
                  <a:gd name="T17" fmla="*/ 86465 h 81"/>
                  <a:gd name="T18" fmla="*/ 0 w 81"/>
                  <a:gd name="T19" fmla="*/ 129698 h 81"/>
                  <a:gd name="T20" fmla="*/ 14417 w 81"/>
                  <a:gd name="T21" fmla="*/ 144109 h 81"/>
                  <a:gd name="T22" fmla="*/ 28835 w 81"/>
                  <a:gd name="T23" fmla="*/ 144109 h 81"/>
                  <a:gd name="T24" fmla="*/ 43252 w 81"/>
                  <a:gd name="T25" fmla="*/ 144109 h 81"/>
                  <a:gd name="T26" fmla="*/ 86504 w 81"/>
                  <a:gd name="T27" fmla="*/ 115287 h 81"/>
                  <a:gd name="T28" fmla="*/ 57670 w 81"/>
                  <a:gd name="T29" fmla="*/ 100876 h 81"/>
                  <a:gd name="T30" fmla="*/ 57670 w 81"/>
                  <a:gd name="T31" fmla="*/ 86465 h 81"/>
                  <a:gd name="T32" fmla="*/ 115339 w 81"/>
                  <a:gd name="T33" fmla="*/ 57643 h 81"/>
                  <a:gd name="T34" fmla="*/ 115339 w 81"/>
                  <a:gd name="T35" fmla="*/ 28822 h 81"/>
                  <a:gd name="T36" fmla="*/ 144174 w 81"/>
                  <a:gd name="T37" fmla="*/ 0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1"/>
                  <a:gd name="T58" fmla="*/ 0 h 81"/>
                  <a:gd name="T59" fmla="*/ 81 w 81"/>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1" h="81">
                    <a:moveTo>
                      <a:pt x="80" y="0"/>
                    </a:moveTo>
                    <a:lnTo>
                      <a:pt x="72" y="0"/>
                    </a:lnTo>
                    <a:lnTo>
                      <a:pt x="56" y="8"/>
                    </a:lnTo>
                    <a:lnTo>
                      <a:pt x="48" y="8"/>
                    </a:lnTo>
                    <a:lnTo>
                      <a:pt x="40" y="16"/>
                    </a:lnTo>
                    <a:lnTo>
                      <a:pt x="32" y="16"/>
                    </a:lnTo>
                    <a:lnTo>
                      <a:pt x="0" y="40"/>
                    </a:lnTo>
                    <a:lnTo>
                      <a:pt x="0" y="48"/>
                    </a:lnTo>
                    <a:lnTo>
                      <a:pt x="8" y="48"/>
                    </a:lnTo>
                    <a:lnTo>
                      <a:pt x="0" y="72"/>
                    </a:lnTo>
                    <a:lnTo>
                      <a:pt x="8" y="80"/>
                    </a:lnTo>
                    <a:lnTo>
                      <a:pt x="16" y="80"/>
                    </a:lnTo>
                    <a:lnTo>
                      <a:pt x="24" y="80"/>
                    </a:lnTo>
                    <a:lnTo>
                      <a:pt x="48" y="64"/>
                    </a:lnTo>
                    <a:lnTo>
                      <a:pt x="32" y="56"/>
                    </a:lnTo>
                    <a:lnTo>
                      <a:pt x="32" y="48"/>
                    </a:lnTo>
                    <a:lnTo>
                      <a:pt x="64" y="32"/>
                    </a:lnTo>
                    <a:lnTo>
                      <a:pt x="64" y="16"/>
                    </a:lnTo>
                    <a:lnTo>
                      <a:pt x="80" y="0"/>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62" name="Line 351">
                <a:extLst>
                  <a:ext uri="{FF2B5EF4-FFF2-40B4-BE49-F238E27FC236}">
                    <a16:creationId xmlns:a16="http://schemas.microsoft.com/office/drawing/2014/main" id="{9CF55EF2-D65D-4E7F-937A-3715655681CE}"/>
                  </a:ext>
                </a:extLst>
              </p:cNvPr>
              <p:cNvSpPr>
                <a:spLocks noChangeShapeType="1"/>
              </p:cNvSpPr>
              <p:nvPr/>
            </p:nvSpPr>
            <p:spPr bwMode="auto">
              <a:xfrm>
                <a:off x="685845" y="4000239"/>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63" name="Freeform 355">
                <a:extLst>
                  <a:ext uri="{FF2B5EF4-FFF2-40B4-BE49-F238E27FC236}">
                    <a16:creationId xmlns:a16="http://schemas.microsoft.com/office/drawing/2014/main" id="{541AA651-199F-48F9-AB05-DB7D43398C95}"/>
                  </a:ext>
                </a:extLst>
              </p:cNvPr>
              <p:cNvSpPr>
                <a:spLocks/>
              </p:cNvSpPr>
              <p:nvPr/>
            </p:nvSpPr>
            <p:spPr bwMode="auto">
              <a:xfrm>
                <a:off x="1988094" y="3191654"/>
                <a:ext cx="22369" cy="44629"/>
              </a:xfrm>
              <a:custGeom>
                <a:avLst/>
                <a:gdLst>
                  <a:gd name="T0" fmla="*/ 0 w 9"/>
                  <a:gd name="T1" fmla="*/ 14411 h 17"/>
                  <a:gd name="T2" fmla="*/ 0 w 9"/>
                  <a:gd name="T3" fmla="*/ 14411 h 17"/>
                  <a:gd name="T4" fmla="*/ 14418 w 9"/>
                  <a:gd name="T5" fmla="*/ 28822 h 17"/>
                  <a:gd name="T6" fmla="*/ 0 w 9"/>
                  <a:gd name="T7" fmla="*/ 0 h 17"/>
                  <a:gd name="T8" fmla="*/ 0 w 9"/>
                  <a:gd name="T9" fmla="*/ 14411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0" y="8"/>
                    </a:moveTo>
                    <a:lnTo>
                      <a:pt x="0" y="8"/>
                    </a:lnTo>
                    <a:lnTo>
                      <a:pt x="8" y="16"/>
                    </a:lnTo>
                    <a:lnTo>
                      <a:pt x="0"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64" name="Freeform 356">
                <a:extLst>
                  <a:ext uri="{FF2B5EF4-FFF2-40B4-BE49-F238E27FC236}">
                    <a16:creationId xmlns:a16="http://schemas.microsoft.com/office/drawing/2014/main" id="{7517A3BF-03B3-4A71-A136-5BA670F76E6E}"/>
                  </a:ext>
                </a:extLst>
              </p:cNvPr>
              <p:cNvSpPr>
                <a:spLocks/>
              </p:cNvSpPr>
              <p:nvPr/>
            </p:nvSpPr>
            <p:spPr bwMode="auto">
              <a:xfrm>
                <a:off x="1988094" y="3191654"/>
                <a:ext cx="22369" cy="44629"/>
              </a:xfrm>
              <a:custGeom>
                <a:avLst/>
                <a:gdLst>
                  <a:gd name="T0" fmla="*/ 0 w 9"/>
                  <a:gd name="T1" fmla="*/ 14411 h 17"/>
                  <a:gd name="T2" fmla="*/ 14418 w 9"/>
                  <a:gd name="T3" fmla="*/ 28822 h 17"/>
                  <a:gd name="T4" fmla="*/ 0 w 9"/>
                  <a:gd name="T5" fmla="*/ 0 h 17"/>
                  <a:gd name="T6" fmla="*/ 0 w 9"/>
                  <a:gd name="T7" fmla="*/ 14411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0" y="8"/>
                    </a:moveTo>
                    <a:lnTo>
                      <a:pt x="8" y="16"/>
                    </a:lnTo>
                    <a:lnTo>
                      <a:pt x="0"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65" name="Freeform 357">
                <a:extLst>
                  <a:ext uri="{FF2B5EF4-FFF2-40B4-BE49-F238E27FC236}">
                    <a16:creationId xmlns:a16="http://schemas.microsoft.com/office/drawing/2014/main" id="{AB335327-F7A3-4267-91DF-59CA9AE0C158}"/>
                  </a:ext>
                </a:extLst>
              </p:cNvPr>
              <p:cNvSpPr>
                <a:spLocks/>
              </p:cNvSpPr>
              <p:nvPr/>
            </p:nvSpPr>
            <p:spPr bwMode="auto">
              <a:xfrm>
                <a:off x="2027858" y="3275662"/>
                <a:ext cx="22369" cy="44629"/>
              </a:xfrm>
              <a:custGeom>
                <a:avLst/>
                <a:gdLst>
                  <a:gd name="T0" fmla="*/ 0 w 9"/>
                  <a:gd name="T1" fmla="*/ 0 h 17"/>
                  <a:gd name="T2" fmla="*/ 0 w 9"/>
                  <a:gd name="T3" fmla="*/ 0 h 17"/>
                  <a:gd name="T4" fmla="*/ 14418 w 9"/>
                  <a:gd name="T5" fmla="*/ 28822 h 17"/>
                  <a:gd name="T6" fmla="*/ 14418 w 9"/>
                  <a:gd name="T7" fmla="*/ 14411 h 17"/>
                  <a:gd name="T8" fmla="*/ 14418 w 9"/>
                  <a:gd name="T9" fmla="*/ 0 h 17"/>
                  <a:gd name="T10" fmla="*/ 0 w 9"/>
                  <a:gd name="T11" fmla="*/ 0 h 17"/>
                  <a:gd name="T12" fmla="*/ 0 60000 65536"/>
                  <a:gd name="T13" fmla="*/ 0 60000 65536"/>
                  <a:gd name="T14" fmla="*/ 0 60000 65536"/>
                  <a:gd name="T15" fmla="*/ 0 60000 65536"/>
                  <a:gd name="T16" fmla="*/ 0 60000 65536"/>
                  <a:gd name="T17" fmla="*/ 0 60000 65536"/>
                  <a:gd name="T18" fmla="*/ 0 w 9"/>
                  <a:gd name="T19" fmla="*/ 0 h 17"/>
                  <a:gd name="T20" fmla="*/ 9 w 9"/>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9" h="17">
                    <a:moveTo>
                      <a:pt x="0" y="0"/>
                    </a:moveTo>
                    <a:lnTo>
                      <a:pt x="0" y="0"/>
                    </a:lnTo>
                    <a:lnTo>
                      <a:pt x="8" y="16"/>
                    </a:lnTo>
                    <a:lnTo>
                      <a:pt x="8" y="8"/>
                    </a:lnTo>
                    <a:lnTo>
                      <a:pt x="8" y="0"/>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66" name="Freeform 358">
                <a:extLst>
                  <a:ext uri="{FF2B5EF4-FFF2-40B4-BE49-F238E27FC236}">
                    <a16:creationId xmlns:a16="http://schemas.microsoft.com/office/drawing/2014/main" id="{0D00781B-7572-49CF-828C-0A1D0FED468C}"/>
                  </a:ext>
                </a:extLst>
              </p:cNvPr>
              <p:cNvSpPr>
                <a:spLocks/>
              </p:cNvSpPr>
              <p:nvPr/>
            </p:nvSpPr>
            <p:spPr bwMode="auto">
              <a:xfrm>
                <a:off x="2027858" y="3275662"/>
                <a:ext cx="22369" cy="44629"/>
              </a:xfrm>
              <a:custGeom>
                <a:avLst/>
                <a:gdLst>
                  <a:gd name="T0" fmla="*/ 0 w 9"/>
                  <a:gd name="T1" fmla="*/ 0 h 17"/>
                  <a:gd name="T2" fmla="*/ 14418 w 9"/>
                  <a:gd name="T3" fmla="*/ 28822 h 17"/>
                  <a:gd name="T4" fmla="*/ 14418 w 9"/>
                  <a:gd name="T5" fmla="*/ 14411 h 17"/>
                  <a:gd name="T6" fmla="*/ 14418 w 9"/>
                  <a:gd name="T7" fmla="*/ 0 h 17"/>
                  <a:gd name="T8" fmla="*/ 0 w 9"/>
                  <a:gd name="T9" fmla="*/ 0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0" y="0"/>
                    </a:moveTo>
                    <a:lnTo>
                      <a:pt x="8" y="16"/>
                    </a:lnTo>
                    <a:lnTo>
                      <a:pt x="8" y="8"/>
                    </a:lnTo>
                    <a:lnTo>
                      <a:pt x="8" y="0"/>
                    </a:lnTo>
                    <a:lnTo>
                      <a:pt x="0" y="0"/>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67" name="Freeform 359">
                <a:extLst>
                  <a:ext uri="{FF2B5EF4-FFF2-40B4-BE49-F238E27FC236}">
                    <a16:creationId xmlns:a16="http://schemas.microsoft.com/office/drawing/2014/main" id="{BE93CC2E-9B63-4096-8F1A-F88D5FF4481B}"/>
                  </a:ext>
                </a:extLst>
              </p:cNvPr>
              <p:cNvSpPr>
                <a:spLocks/>
              </p:cNvSpPr>
              <p:nvPr/>
            </p:nvSpPr>
            <p:spPr bwMode="auto">
              <a:xfrm>
                <a:off x="1431407" y="2918626"/>
                <a:ext cx="82011" cy="128638"/>
              </a:xfrm>
              <a:custGeom>
                <a:avLst/>
                <a:gdLst>
                  <a:gd name="T0" fmla="*/ 0 w 33"/>
                  <a:gd name="T1" fmla="*/ 43233 h 49"/>
                  <a:gd name="T2" fmla="*/ 0 w 33"/>
                  <a:gd name="T3" fmla="*/ 43233 h 49"/>
                  <a:gd name="T4" fmla="*/ 14417 w 33"/>
                  <a:gd name="T5" fmla="*/ 86466 h 49"/>
                  <a:gd name="T6" fmla="*/ 43252 w 33"/>
                  <a:gd name="T7" fmla="*/ 86466 h 49"/>
                  <a:gd name="T8" fmla="*/ 57670 w 33"/>
                  <a:gd name="T9" fmla="*/ 57644 h 49"/>
                  <a:gd name="T10" fmla="*/ 28835 w 33"/>
                  <a:gd name="T11" fmla="*/ 14411 h 49"/>
                  <a:gd name="T12" fmla="*/ 14417 w 33"/>
                  <a:gd name="T13" fmla="*/ 0 h 49"/>
                  <a:gd name="T14" fmla="*/ 0 w 33"/>
                  <a:gd name="T15" fmla="*/ 43233 h 49"/>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9"/>
                  <a:gd name="T26" fmla="*/ 33 w 33"/>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9">
                    <a:moveTo>
                      <a:pt x="0" y="24"/>
                    </a:moveTo>
                    <a:lnTo>
                      <a:pt x="0" y="24"/>
                    </a:lnTo>
                    <a:lnTo>
                      <a:pt x="8" y="48"/>
                    </a:lnTo>
                    <a:lnTo>
                      <a:pt x="24" y="48"/>
                    </a:lnTo>
                    <a:lnTo>
                      <a:pt x="32" y="32"/>
                    </a:lnTo>
                    <a:lnTo>
                      <a:pt x="16" y="8"/>
                    </a:lnTo>
                    <a:lnTo>
                      <a:pt x="8" y="0"/>
                    </a:lnTo>
                    <a:lnTo>
                      <a:pt x="0" y="24"/>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68" name="Freeform 360">
                <a:extLst>
                  <a:ext uri="{FF2B5EF4-FFF2-40B4-BE49-F238E27FC236}">
                    <a16:creationId xmlns:a16="http://schemas.microsoft.com/office/drawing/2014/main" id="{F09A4355-1F03-4ECF-9451-E772E5C9A704}"/>
                  </a:ext>
                </a:extLst>
              </p:cNvPr>
              <p:cNvSpPr>
                <a:spLocks/>
              </p:cNvSpPr>
              <p:nvPr/>
            </p:nvSpPr>
            <p:spPr bwMode="auto">
              <a:xfrm>
                <a:off x="1431407" y="2918626"/>
                <a:ext cx="82011" cy="128638"/>
              </a:xfrm>
              <a:custGeom>
                <a:avLst/>
                <a:gdLst>
                  <a:gd name="T0" fmla="*/ 0 w 33"/>
                  <a:gd name="T1" fmla="*/ 43233 h 49"/>
                  <a:gd name="T2" fmla="*/ 14417 w 33"/>
                  <a:gd name="T3" fmla="*/ 86466 h 49"/>
                  <a:gd name="T4" fmla="*/ 43252 w 33"/>
                  <a:gd name="T5" fmla="*/ 86466 h 49"/>
                  <a:gd name="T6" fmla="*/ 57670 w 33"/>
                  <a:gd name="T7" fmla="*/ 57644 h 49"/>
                  <a:gd name="T8" fmla="*/ 28835 w 33"/>
                  <a:gd name="T9" fmla="*/ 14411 h 49"/>
                  <a:gd name="T10" fmla="*/ 14417 w 33"/>
                  <a:gd name="T11" fmla="*/ 0 h 49"/>
                  <a:gd name="T12" fmla="*/ 0 w 33"/>
                  <a:gd name="T13" fmla="*/ 43233 h 49"/>
                  <a:gd name="T14" fmla="*/ 0 60000 65536"/>
                  <a:gd name="T15" fmla="*/ 0 60000 65536"/>
                  <a:gd name="T16" fmla="*/ 0 60000 65536"/>
                  <a:gd name="T17" fmla="*/ 0 60000 65536"/>
                  <a:gd name="T18" fmla="*/ 0 60000 65536"/>
                  <a:gd name="T19" fmla="*/ 0 60000 65536"/>
                  <a:gd name="T20" fmla="*/ 0 60000 65536"/>
                  <a:gd name="T21" fmla="*/ 0 w 33"/>
                  <a:gd name="T22" fmla="*/ 0 h 49"/>
                  <a:gd name="T23" fmla="*/ 33 w 33"/>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49">
                    <a:moveTo>
                      <a:pt x="0" y="24"/>
                    </a:moveTo>
                    <a:lnTo>
                      <a:pt x="8" y="48"/>
                    </a:lnTo>
                    <a:lnTo>
                      <a:pt x="24" y="48"/>
                    </a:lnTo>
                    <a:lnTo>
                      <a:pt x="32" y="32"/>
                    </a:lnTo>
                    <a:lnTo>
                      <a:pt x="16" y="8"/>
                    </a:lnTo>
                    <a:lnTo>
                      <a:pt x="8" y="0"/>
                    </a:lnTo>
                    <a:lnTo>
                      <a:pt x="0" y="24"/>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69" name="Freeform 361">
                <a:extLst>
                  <a:ext uri="{FF2B5EF4-FFF2-40B4-BE49-F238E27FC236}">
                    <a16:creationId xmlns:a16="http://schemas.microsoft.com/office/drawing/2014/main" id="{6EEAD532-B783-4E8A-94C7-14C0E859F34D}"/>
                  </a:ext>
                </a:extLst>
              </p:cNvPr>
              <p:cNvSpPr>
                <a:spLocks/>
              </p:cNvSpPr>
              <p:nvPr/>
            </p:nvSpPr>
            <p:spPr bwMode="auto">
              <a:xfrm>
                <a:off x="2345965" y="2582591"/>
                <a:ext cx="82011" cy="65633"/>
              </a:xfrm>
              <a:custGeom>
                <a:avLst/>
                <a:gdLst>
                  <a:gd name="T0" fmla="*/ 0 w 33"/>
                  <a:gd name="T1" fmla="*/ 14411 h 25"/>
                  <a:gd name="T2" fmla="*/ 0 w 33"/>
                  <a:gd name="T3" fmla="*/ 14411 h 25"/>
                  <a:gd name="T4" fmla="*/ 0 w 33"/>
                  <a:gd name="T5" fmla="*/ 28822 h 25"/>
                  <a:gd name="T6" fmla="*/ 28835 w 33"/>
                  <a:gd name="T7" fmla="*/ 43233 h 25"/>
                  <a:gd name="T8" fmla="*/ 43252 w 33"/>
                  <a:gd name="T9" fmla="*/ 28822 h 25"/>
                  <a:gd name="T10" fmla="*/ 57670 w 33"/>
                  <a:gd name="T11" fmla="*/ 0 h 25"/>
                  <a:gd name="T12" fmla="*/ 14417 w 33"/>
                  <a:gd name="T13" fmla="*/ 0 h 25"/>
                  <a:gd name="T14" fmla="*/ 0 w 33"/>
                  <a:gd name="T15" fmla="*/ 14411 h 2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25"/>
                  <a:gd name="T26" fmla="*/ 33 w 33"/>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25">
                    <a:moveTo>
                      <a:pt x="0" y="8"/>
                    </a:moveTo>
                    <a:lnTo>
                      <a:pt x="0" y="8"/>
                    </a:lnTo>
                    <a:lnTo>
                      <a:pt x="0" y="16"/>
                    </a:lnTo>
                    <a:lnTo>
                      <a:pt x="16" y="24"/>
                    </a:lnTo>
                    <a:lnTo>
                      <a:pt x="24" y="16"/>
                    </a:lnTo>
                    <a:lnTo>
                      <a:pt x="32" y="0"/>
                    </a:lnTo>
                    <a:lnTo>
                      <a:pt x="8" y="0"/>
                    </a:lnTo>
                    <a:lnTo>
                      <a:pt x="0" y="8"/>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0" name="Freeform 362">
                <a:extLst>
                  <a:ext uri="{FF2B5EF4-FFF2-40B4-BE49-F238E27FC236}">
                    <a16:creationId xmlns:a16="http://schemas.microsoft.com/office/drawing/2014/main" id="{4D472057-7910-47CB-AD95-EB11FF934B72}"/>
                  </a:ext>
                </a:extLst>
              </p:cNvPr>
              <p:cNvSpPr>
                <a:spLocks/>
              </p:cNvSpPr>
              <p:nvPr/>
            </p:nvSpPr>
            <p:spPr bwMode="auto">
              <a:xfrm>
                <a:off x="2345965" y="2582591"/>
                <a:ext cx="82011" cy="65633"/>
              </a:xfrm>
              <a:custGeom>
                <a:avLst/>
                <a:gdLst>
                  <a:gd name="T0" fmla="*/ 0 w 33"/>
                  <a:gd name="T1" fmla="*/ 14411 h 25"/>
                  <a:gd name="T2" fmla="*/ 0 w 33"/>
                  <a:gd name="T3" fmla="*/ 28822 h 25"/>
                  <a:gd name="T4" fmla="*/ 28835 w 33"/>
                  <a:gd name="T5" fmla="*/ 43233 h 25"/>
                  <a:gd name="T6" fmla="*/ 43252 w 33"/>
                  <a:gd name="T7" fmla="*/ 28822 h 25"/>
                  <a:gd name="T8" fmla="*/ 57670 w 33"/>
                  <a:gd name="T9" fmla="*/ 0 h 25"/>
                  <a:gd name="T10" fmla="*/ 14417 w 33"/>
                  <a:gd name="T11" fmla="*/ 0 h 25"/>
                  <a:gd name="T12" fmla="*/ 0 w 33"/>
                  <a:gd name="T13" fmla="*/ 14411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0" y="16"/>
                    </a:lnTo>
                    <a:lnTo>
                      <a:pt x="16" y="24"/>
                    </a:lnTo>
                    <a:lnTo>
                      <a:pt x="24" y="16"/>
                    </a:lnTo>
                    <a:lnTo>
                      <a:pt x="32" y="0"/>
                    </a:lnTo>
                    <a:lnTo>
                      <a:pt x="8" y="0"/>
                    </a:lnTo>
                    <a:lnTo>
                      <a:pt x="0" y="8"/>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1" name="Freeform 363">
                <a:extLst>
                  <a:ext uri="{FF2B5EF4-FFF2-40B4-BE49-F238E27FC236}">
                    <a16:creationId xmlns:a16="http://schemas.microsoft.com/office/drawing/2014/main" id="{9F4BD42F-1D91-4C88-BAED-40660A5A4773}"/>
                  </a:ext>
                </a:extLst>
              </p:cNvPr>
              <p:cNvSpPr>
                <a:spLocks/>
              </p:cNvSpPr>
              <p:nvPr/>
            </p:nvSpPr>
            <p:spPr bwMode="auto">
              <a:xfrm>
                <a:off x="2703833" y="2393571"/>
                <a:ext cx="62129" cy="107636"/>
              </a:xfrm>
              <a:custGeom>
                <a:avLst/>
                <a:gdLst>
                  <a:gd name="T0" fmla="*/ 0 w 25"/>
                  <a:gd name="T1" fmla="*/ 43233 h 41"/>
                  <a:gd name="T2" fmla="*/ 0 w 25"/>
                  <a:gd name="T3" fmla="*/ 43233 h 41"/>
                  <a:gd name="T4" fmla="*/ 0 w 25"/>
                  <a:gd name="T5" fmla="*/ 57644 h 41"/>
                  <a:gd name="T6" fmla="*/ 14417 w 25"/>
                  <a:gd name="T7" fmla="*/ 72055 h 41"/>
                  <a:gd name="T8" fmla="*/ 43252 w 25"/>
                  <a:gd name="T9" fmla="*/ 0 h 41"/>
                  <a:gd name="T10" fmla="*/ 28835 w 25"/>
                  <a:gd name="T11" fmla="*/ 0 h 41"/>
                  <a:gd name="T12" fmla="*/ 0 w 25"/>
                  <a:gd name="T13" fmla="*/ 43233 h 41"/>
                  <a:gd name="T14" fmla="*/ 0 60000 65536"/>
                  <a:gd name="T15" fmla="*/ 0 60000 65536"/>
                  <a:gd name="T16" fmla="*/ 0 60000 65536"/>
                  <a:gd name="T17" fmla="*/ 0 60000 65536"/>
                  <a:gd name="T18" fmla="*/ 0 60000 65536"/>
                  <a:gd name="T19" fmla="*/ 0 60000 65536"/>
                  <a:gd name="T20" fmla="*/ 0 60000 65536"/>
                  <a:gd name="T21" fmla="*/ 0 w 25"/>
                  <a:gd name="T22" fmla="*/ 0 h 41"/>
                  <a:gd name="T23" fmla="*/ 25 w 25"/>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1">
                    <a:moveTo>
                      <a:pt x="0" y="24"/>
                    </a:moveTo>
                    <a:lnTo>
                      <a:pt x="0" y="24"/>
                    </a:lnTo>
                    <a:lnTo>
                      <a:pt x="0" y="32"/>
                    </a:lnTo>
                    <a:lnTo>
                      <a:pt x="8" y="40"/>
                    </a:lnTo>
                    <a:lnTo>
                      <a:pt x="24" y="0"/>
                    </a:lnTo>
                    <a:lnTo>
                      <a:pt x="16" y="0"/>
                    </a:lnTo>
                    <a:lnTo>
                      <a:pt x="0" y="24"/>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2" name="Freeform 364">
                <a:extLst>
                  <a:ext uri="{FF2B5EF4-FFF2-40B4-BE49-F238E27FC236}">
                    <a16:creationId xmlns:a16="http://schemas.microsoft.com/office/drawing/2014/main" id="{9B284139-D9B3-4132-92B2-75248DB3FB8E}"/>
                  </a:ext>
                </a:extLst>
              </p:cNvPr>
              <p:cNvSpPr>
                <a:spLocks/>
              </p:cNvSpPr>
              <p:nvPr/>
            </p:nvSpPr>
            <p:spPr bwMode="auto">
              <a:xfrm>
                <a:off x="2703833" y="2393571"/>
                <a:ext cx="62129" cy="107636"/>
              </a:xfrm>
              <a:custGeom>
                <a:avLst/>
                <a:gdLst>
                  <a:gd name="T0" fmla="*/ 0 w 25"/>
                  <a:gd name="T1" fmla="*/ 43233 h 41"/>
                  <a:gd name="T2" fmla="*/ 0 w 25"/>
                  <a:gd name="T3" fmla="*/ 57644 h 41"/>
                  <a:gd name="T4" fmla="*/ 14417 w 25"/>
                  <a:gd name="T5" fmla="*/ 72055 h 41"/>
                  <a:gd name="T6" fmla="*/ 43252 w 25"/>
                  <a:gd name="T7" fmla="*/ 0 h 41"/>
                  <a:gd name="T8" fmla="*/ 28835 w 25"/>
                  <a:gd name="T9" fmla="*/ 0 h 41"/>
                  <a:gd name="T10" fmla="*/ 0 w 25"/>
                  <a:gd name="T11" fmla="*/ 43233 h 41"/>
                  <a:gd name="T12" fmla="*/ 0 60000 65536"/>
                  <a:gd name="T13" fmla="*/ 0 60000 65536"/>
                  <a:gd name="T14" fmla="*/ 0 60000 65536"/>
                  <a:gd name="T15" fmla="*/ 0 60000 65536"/>
                  <a:gd name="T16" fmla="*/ 0 60000 65536"/>
                  <a:gd name="T17" fmla="*/ 0 60000 65536"/>
                  <a:gd name="T18" fmla="*/ 0 w 25"/>
                  <a:gd name="T19" fmla="*/ 0 h 41"/>
                  <a:gd name="T20" fmla="*/ 25 w 25"/>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5" h="41">
                    <a:moveTo>
                      <a:pt x="0" y="24"/>
                    </a:moveTo>
                    <a:lnTo>
                      <a:pt x="0" y="32"/>
                    </a:lnTo>
                    <a:lnTo>
                      <a:pt x="8" y="40"/>
                    </a:lnTo>
                    <a:lnTo>
                      <a:pt x="24" y="0"/>
                    </a:lnTo>
                    <a:lnTo>
                      <a:pt x="16" y="0"/>
                    </a:lnTo>
                    <a:lnTo>
                      <a:pt x="0" y="24"/>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3" name="Freeform 365">
                <a:extLst>
                  <a:ext uri="{FF2B5EF4-FFF2-40B4-BE49-F238E27FC236}">
                    <a16:creationId xmlns:a16="http://schemas.microsoft.com/office/drawing/2014/main" id="{7DA76C23-3A6D-443B-8256-4E4746FA5191}"/>
                  </a:ext>
                </a:extLst>
              </p:cNvPr>
              <p:cNvSpPr>
                <a:spLocks/>
              </p:cNvSpPr>
              <p:nvPr/>
            </p:nvSpPr>
            <p:spPr bwMode="auto">
              <a:xfrm>
                <a:off x="3002059" y="2057537"/>
                <a:ext cx="82011" cy="128638"/>
              </a:xfrm>
              <a:custGeom>
                <a:avLst/>
                <a:gdLst>
                  <a:gd name="T0" fmla="*/ 0 w 33"/>
                  <a:gd name="T1" fmla="*/ 14411 h 49"/>
                  <a:gd name="T2" fmla="*/ 0 w 33"/>
                  <a:gd name="T3" fmla="*/ 14411 h 49"/>
                  <a:gd name="T4" fmla="*/ 0 w 33"/>
                  <a:gd name="T5" fmla="*/ 28822 h 49"/>
                  <a:gd name="T6" fmla="*/ 14417 w 33"/>
                  <a:gd name="T7" fmla="*/ 28822 h 49"/>
                  <a:gd name="T8" fmla="*/ 14417 w 33"/>
                  <a:gd name="T9" fmla="*/ 72055 h 49"/>
                  <a:gd name="T10" fmla="*/ 28835 w 33"/>
                  <a:gd name="T11" fmla="*/ 86466 h 49"/>
                  <a:gd name="T12" fmla="*/ 43252 w 33"/>
                  <a:gd name="T13" fmla="*/ 72055 h 49"/>
                  <a:gd name="T14" fmla="*/ 57670 w 33"/>
                  <a:gd name="T15" fmla="*/ 28822 h 49"/>
                  <a:gd name="T16" fmla="*/ 43252 w 33"/>
                  <a:gd name="T17" fmla="*/ 14411 h 49"/>
                  <a:gd name="T18" fmla="*/ 14417 w 33"/>
                  <a:gd name="T19" fmla="*/ 0 h 49"/>
                  <a:gd name="T20" fmla="*/ 0 w 33"/>
                  <a:gd name="T21" fmla="*/ 14411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49"/>
                  <a:gd name="T35" fmla="*/ 33 w 3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49">
                    <a:moveTo>
                      <a:pt x="0" y="8"/>
                    </a:moveTo>
                    <a:lnTo>
                      <a:pt x="0" y="8"/>
                    </a:lnTo>
                    <a:lnTo>
                      <a:pt x="0" y="16"/>
                    </a:lnTo>
                    <a:lnTo>
                      <a:pt x="8" y="16"/>
                    </a:lnTo>
                    <a:lnTo>
                      <a:pt x="8" y="40"/>
                    </a:lnTo>
                    <a:lnTo>
                      <a:pt x="16" y="48"/>
                    </a:lnTo>
                    <a:lnTo>
                      <a:pt x="24" y="40"/>
                    </a:lnTo>
                    <a:lnTo>
                      <a:pt x="32" y="16"/>
                    </a:lnTo>
                    <a:lnTo>
                      <a:pt x="24" y="8"/>
                    </a:lnTo>
                    <a:lnTo>
                      <a:pt x="8"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4" name="Freeform 366">
                <a:extLst>
                  <a:ext uri="{FF2B5EF4-FFF2-40B4-BE49-F238E27FC236}">
                    <a16:creationId xmlns:a16="http://schemas.microsoft.com/office/drawing/2014/main" id="{D495A3C9-B56F-4464-90D5-E3B35A8BC8A6}"/>
                  </a:ext>
                </a:extLst>
              </p:cNvPr>
              <p:cNvSpPr>
                <a:spLocks/>
              </p:cNvSpPr>
              <p:nvPr/>
            </p:nvSpPr>
            <p:spPr bwMode="auto">
              <a:xfrm>
                <a:off x="3002059" y="2057537"/>
                <a:ext cx="82011" cy="128638"/>
              </a:xfrm>
              <a:custGeom>
                <a:avLst/>
                <a:gdLst>
                  <a:gd name="T0" fmla="*/ 0 w 33"/>
                  <a:gd name="T1" fmla="*/ 14411 h 49"/>
                  <a:gd name="T2" fmla="*/ 0 w 33"/>
                  <a:gd name="T3" fmla="*/ 28822 h 49"/>
                  <a:gd name="T4" fmla="*/ 14417 w 33"/>
                  <a:gd name="T5" fmla="*/ 28822 h 49"/>
                  <a:gd name="T6" fmla="*/ 14417 w 33"/>
                  <a:gd name="T7" fmla="*/ 72055 h 49"/>
                  <a:gd name="T8" fmla="*/ 28835 w 33"/>
                  <a:gd name="T9" fmla="*/ 86466 h 49"/>
                  <a:gd name="T10" fmla="*/ 43252 w 33"/>
                  <a:gd name="T11" fmla="*/ 72055 h 49"/>
                  <a:gd name="T12" fmla="*/ 57670 w 33"/>
                  <a:gd name="T13" fmla="*/ 28822 h 49"/>
                  <a:gd name="T14" fmla="*/ 43252 w 33"/>
                  <a:gd name="T15" fmla="*/ 14411 h 49"/>
                  <a:gd name="T16" fmla="*/ 14417 w 33"/>
                  <a:gd name="T17" fmla="*/ 0 h 49"/>
                  <a:gd name="T18" fmla="*/ 0 w 33"/>
                  <a:gd name="T19" fmla="*/ 14411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8"/>
                    </a:moveTo>
                    <a:lnTo>
                      <a:pt x="0" y="16"/>
                    </a:lnTo>
                    <a:lnTo>
                      <a:pt x="8" y="16"/>
                    </a:lnTo>
                    <a:lnTo>
                      <a:pt x="8" y="40"/>
                    </a:lnTo>
                    <a:lnTo>
                      <a:pt x="16" y="48"/>
                    </a:lnTo>
                    <a:lnTo>
                      <a:pt x="24" y="40"/>
                    </a:lnTo>
                    <a:lnTo>
                      <a:pt x="32" y="16"/>
                    </a:lnTo>
                    <a:lnTo>
                      <a:pt x="24" y="8"/>
                    </a:lnTo>
                    <a:lnTo>
                      <a:pt x="8"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5" name="Freeform 367">
                <a:extLst>
                  <a:ext uri="{FF2B5EF4-FFF2-40B4-BE49-F238E27FC236}">
                    <a16:creationId xmlns:a16="http://schemas.microsoft.com/office/drawing/2014/main" id="{F0EAE3A4-7DCF-480F-881F-901A23765589}"/>
                  </a:ext>
                </a:extLst>
              </p:cNvPr>
              <p:cNvSpPr>
                <a:spLocks/>
              </p:cNvSpPr>
              <p:nvPr/>
            </p:nvSpPr>
            <p:spPr bwMode="auto">
              <a:xfrm>
                <a:off x="3081585" y="2057537"/>
                <a:ext cx="82011" cy="44629"/>
              </a:xfrm>
              <a:custGeom>
                <a:avLst/>
                <a:gdLst>
                  <a:gd name="T0" fmla="*/ 0 w 33"/>
                  <a:gd name="T1" fmla="*/ 14411 h 17"/>
                  <a:gd name="T2" fmla="*/ 0 w 33"/>
                  <a:gd name="T3" fmla="*/ 14411 h 17"/>
                  <a:gd name="T4" fmla="*/ 0 w 33"/>
                  <a:gd name="T5" fmla="*/ 28822 h 17"/>
                  <a:gd name="T6" fmla="*/ 14417 w 33"/>
                  <a:gd name="T7" fmla="*/ 28822 h 17"/>
                  <a:gd name="T8" fmla="*/ 28835 w 33"/>
                  <a:gd name="T9" fmla="*/ 14411 h 17"/>
                  <a:gd name="T10" fmla="*/ 43252 w 33"/>
                  <a:gd name="T11" fmla="*/ 14411 h 17"/>
                  <a:gd name="T12" fmla="*/ 57670 w 33"/>
                  <a:gd name="T13" fmla="*/ 0 h 17"/>
                  <a:gd name="T14" fmla="*/ 28835 w 33"/>
                  <a:gd name="T15" fmla="*/ 0 h 17"/>
                  <a:gd name="T16" fmla="*/ 0 w 33"/>
                  <a:gd name="T17" fmla="*/ 1441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17"/>
                  <a:gd name="T29" fmla="*/ 33 w 33"/>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17">
                    <a:moveTo>
                      <a:pt x="0" y="8"/>
                    </a:moveTo>
                    <a:lnTo>
                      <a:pt x="0" y="8"/>
                    </a:lnTo>
                    <a:lnTo>
                      <a:pt x="0" y="16"/>
                    </a:lnTo>
                    <a:lnTo>
                      <a:pt x="8" y="16"/>
                    </a:lnTo>
                    <a:lnTo>
                      <a:pt x="16" y="8"/>
                    </a:lnTo>
                    <a:lnTo>
                      <a:pt x="24" y="8"/>
                    </a:lnTo>
                    <a:lnTo>
                      <a:pt x="32" y="0"/>
                    </a:lnTo>
                    <a:lnTo>
                      <a:pt x="16"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6" name="Freeform 368">
                <a:extLst>
                  <a:ext uri="{FF2B5EF4-FFF2-40B4-BE49-F238E27FC236}">
                    <a16:creationId xmlns:a16="http://schemas.microsoft.com/office/drawing/2014/main" id="{84DC375F-49C1-4AD9-9AC4-5A388DA05F30}"/>
                  </a:ext>
                </a:extLst>
              </p:cNvPr>
              <p:cNvSpPr>
                <a:spLocks/>
              </p:cNvSpPr>
              <p:nvPr/>
            </p:nvSpPr>
            <p:spPr bwMode="auto">
              <a:xfrm>
                <a:off x="3081585" y="2057537"/>
                <a:ext cx="82011" cy="44629"/>
              </a:xfrm>
              <a:custGeom>
                <a:avLst/>
                <a:gdLst>
                  <a:gd name="T0" fmla="*/ 0 w 33"/>
                  <a:gd name="T1" fmla="*/ 14411 h 17"/>
                  <a:gd name="T2" fmla="*/ 0 w 33"/>
                  <a:gd name="T3" fmla="*/ 28822 h 17"/>
                  <a:gd name="T4" fmla="*/ 14417 w 33"/>
                  <a:gd name="T5" fmla="*/ 28822 h 17"/>
                  <a:gd name="T6" fmla="*/ 28835 w 33"/>
                  <a:gd name="T7" fmla="*/ 14411 h 17"/>
                  <a:gd name="T8" fmla="*/ 43252 w 33"/>
                  <a:gd name="T9" fmla="*/ 14411 h 17"/>
                  <a:gd name="T10" fmla="*/ 57670 w 33"/>
                  <a:gd name="T11" fmla="*/ 0 h 17"/>
                  <a:gd name="T12" fmla="*/ 28835 w 33"/>
                  <a:gd name="T13" fmla="*/ 0 h 17"/>
                  <a:gd name="T14" fmla="*/ 0 w 33"/>
                  <a:gd name="T15" fmla="*/ 14411 h 17"/>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7"/>
                  <a:gd name="T26" fmla="*/ 33 w 33"/>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7">
                    <a:moveTo>
                      <a:pt x="0" y="8"/>
                    </a:moveTo>
                    <a:lnTo>
                      <a:pt x="0" y="16"/>
                    </a:lnTo>
                    <a:lnTo>
                      <a:pt x="8" y="16"/>
                    </a:lnTo>
                    <a:lnTo>
                      <a:pt x="16" y="8"/>
                    </a:lnTo>
                    <a:lnTo>
                      <a:pt x="24" y="8"/>
                    </a:lnTo>
                    <a:lnTo>
                      <a:pt x="32" y="0"/>
                    </a:lnTo>
                    <a:lnTo>
                      <a:pt x="16"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7" name="Freeform 369">
                <a:extLst>
                  <a:ext uri="{FF2B5EF4-FFF2-40B4-BE49-F238E27FC236}">
                    <a16:creationId xmlns:a16="http://schemas.microsoft.com/office/drawing/2014/main" id="{192E05E6-8AB2-4415-9B66-E6236B01B509}"/>
                  </a:ext>
                </a:extLst>
              </p:cNvPr>
              <p:cNvSpPr>
                <a:spLocks/>
              </p:cNvSpPr>
              <p:nvPr/>
            </p:nvSpPr>
            <p:spPr bwMode="auto">
              <a:xfrm>
                <a:off x="3041823" y="1742503"/>
                <a:ext cx="340473" cy="338661"/>
              </a:xfrm>
              <a:custGeom>
                <a:avLst/>
                <a:gdLst>
                  <a:gd name="T0" fmla="*/ 0 w 137"/>
                  <a:gd name="T1" fmla="*/ 201753 h 129"/>
                  <a:gd name="T2" fmla="*/ 0 w 137"/>
                  <a:gd name="T3" fmla="*/ 201753 h 129"/>
                  <a:gd name="T4" fmla="*/ 0 w 137"/>
                  <a:gd name="T5" fmla="*/ 216164 h 129"/>
                  <a:gd name="T6" fmla="*/ 28835 w 137"/>
                  <a:gd name="T7" fmla="*/ 216164 h 129"/>
                  <a:gd name="T8" fmla="*/ 86504 w 137"/>
                  <a:gd name="T9" fmla="*/ 187342 h 129"/>
                  <a:gd name="T10" fmla="*/ 100922 w 137"/>
                  <a:gd name="T11" fmla="*/ 201753 h 129"/>
                  <a:gd name="T12" fmla="*/ 100922 w 137"/>
                  <a:gd name="T13" fmla="*/ 216164 h 129"/>
                  <a:gd name="T14" fmla="*/ 115339 w 137"/>
                  <a:gd name="T15" fmla="*/ 230575 h 129"/>
                  <a:gd name="T16" fmla="*/ 129757 w 137"/>
                  <a:gd name="T17" fmla="*/ 201753 h 129"/>
                  <a:gd name="T18" fmla="*/ 129757 w 137"/>
                  <a:gd name="T19" fmla="*/ 187342 h 129"/>
                  <a:gd name="T20" fmla="*/ 144174 w 137"/>
                  <a:gd name="T21" fmla="*/ 201753 h 129"/>
                  <a:gd name="T22" fmla="*/ 158591 w 137"/>
                  <a:gd name="T23" fmla="*/ 201753 h 129"/>
                  <a:gd name="T24" fmla="*/ 173009 w 137"/>
                  <a:gd name="T25" fmla="*/ 187342 h 129"/>
                  <a:gd name="T26" fmla="*/ 187426 w 137"/>
                  <a:gd name="T27" fmla="*/ 201753 h 129"/>
                  <a:gd name="T28" fmla="*/ 187426 w 137"/>
                  <a:gd name="T29" fmla="*/ 187342 h 129"/>
                  <a:gd name="T30" fmla="*/ 201844 w 137"/>
                  <a:gd name="T31" fmla="*/ 172931 h 129"/>
                  <a:gd name="T32" fmla="*/ 201844 w 137"/>
                  <a:gd name="T33" fmla="*/ 187342 h 129"/>
                  <a:gd name="T34" fmla="*/ 216261 w 137"/>
                  <a:gd name="T35" fmla="*/ 187342 h 129"/>
                  <a:gd name="T36" fmla="*/ 230678 w 137"/>
                  <a:gd name="T37" fmla="*/ 172931 h 129"/>
                  <a:gd name="T38" fmla="*/ 230678 w 137"/>
                  <a:gd name="T39" fmla="*/ 100876 h 129"/>
                  <a:gd name="T40" fmla="*/ 245096 w 137"/>
                  <a:gd name="T41" fmla="*/ 100876 h 129"/>
                  <a:gd name="T42" fmla="*/ 245096 w 137"/>
                  <a:gd name="T43" fmla="*/ 72055 h 129"/>
                  <a:gd name="T44" fmla="*/ 245096 w 137"/>
                  <a:gd name="T45" fmla="*/ 14411 h 129"/>
                  <a:gd name="T46" fmla="*/ 230678 w 137"/>
                  <a:gd name="T47" fmla="*/ 0 h 129"/>
                  <a:gd name="T48" fmla="*/ 230678 w 137"/>
                  <a:gd name="T49" fmla="*/ 14411 h 129"/>
                  <a:gd name="T50" fmla="*/ 216261 w 137"/>
                  <a:gd name="T51" fmla="*/ 14411 h 129"/>
                  <a:gd name="T52" fmla="*/ 201844 w 137"/>
                  <a:gd name="T53" fmla="*/ 72055 h 129"/>
                  <a:gd name="T54" fmla="*/ 173009 w 137"/>
                  <a:gd name="T55" fmla="*/ 115287 h 129"/>
                  <a:gd name="T56" fmla="*/ 144174 w 137"/>
                  <a:gd name="T57" fmla="*/ 144109 h 129"/>
                  <a:gd name="T58" fmla="*/ 144174 w 137"/>
                  <a:gd name="T59" fmla="*/ 115287 h 129"/>
                  <a:gd name="T60" fmla="*/ 129757 w 137"/>
                  <a:gd name="T61" fmla="*/ 129698 h 129"/>
                  <a:gd name="T62" fmla="*/ 115339 w 137"/>
                  <a:gd name="T63" fmla="*/ 172931 h 129"/>
                  <a:gd name="T64" fmla="*/ 100922 w 137"/>
                  <a:gd name="T65" fmla="*/ 172931 h 129"/>
                  <a:gd name="T66" fmla="*/ 43252 w 137"/>
                  <a:gd name="T67" fmla="*/ 172931 h 129"/>
                  <a:gd name="T68" fmla="*/ 0 w 137"/>
                  <a:gd name="T69" fmla="*/ 201753 h 12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7"/>
                  <a:gd name="T106" fmla="*/ 0 h 129"/>
                  <a:gd name="T107" fmla="*/ 137 w 137"/>
                  <a:gd name="T108" fmla="*/ 129 h 12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7" h="129">
                    <a:moveTo>
                      <a:pt x="0" y="112"/>
                    </a:moveTo>
                    <a:lnTo>
                      <a:pt x="0" y="112"/>
                    </a:lnTo>
                    <a:lnTo>
                      <a:pt x="0" y="120"/>
                    </a:lnTo>
                    <a:lnTo>
                      <a:pt x="16" y="120"/>
                    </a:lnTo>
                    <a:lnTo>
                      <a:pt x="48" y="104"/>
                    </a:lnTo>
                    <a:lnTo>
                      <a:pt x="56" y="112"/>
                    </a:lnTo>
                    <a:lnTo>
                      <a:pt x="56" y="120"/>
                    </a:lnTo>
                    <a:lnTo>
                      <a:pt x="64" y="128"/>
                    </a:lnTo>
                    <a:lnTo>
                      <a:pt x="72" y="112"/>
                    </a:lnTo>
                    <a:lnTo>
                      <a:pt x="72" y="104"/>
                    </a:lnTo>
                    <a:lnTo>
                      <a:pt x="80" y="112"/>
                    </a:lnTo>
                    <a:lnTo>
                      <a:pt x="88" y="112"/>
                    </a:lnTo>
                    <a:lnTo>
                      <a:pt x="96" y="104"/>
                    </a:lnTo>
                    <a:lnTo>
                      <a:pt x="104" y="112"/>
                    </a:lnTo>
                    <a:lnTo>
                      <a:pt x="104" y="104"/>
                    </a:lnTo>
                    <a:lnTo>
                      <a:pt x="112" y="96"/>
                    </a:lnTo>
                    <a:lnTo>
                      <a:pt x="112" y="104"/>
                    </a:lnTo>
                    <a:lnTo>
                      <a:pt x="120" y="104"/>
                    </a:lnTo>
                    <a:lnTo>
                      <a:pt x="128" y="96"/>
                    </a:lnTo>
                    <a:lnTo>
                      <a:pt x="128" y="56"/>
                    </a:lnTo>
                    <a:lnTo>
                      <a:pt x="136" y="56"/>
                    </a:lnTo>
                    <a:lnTo>
                      <a:pt x="136" y="40"/>
                    </a:lnTo>
                    <a:lnTo>
                      <a:pt x="136" y="8"/>
                    </a:lnTo>
                    <a:lnTo>
                      <a:pt x="128" y="0"/>
                    </a:lnTo>
                    <a:lnTo>
                      <a:pt x="128" y="8"/>
                    </a:lnTo>
                    <a:lnTo>
                      <a:pt x="120" y="8"/>
                    </a:lnTo>
                    <a:lnTo>
                      <a:pt x="112" y="40"/>
                    </a:lnTo>
                    <a:lnTo>
                      <a:pt x="96" y="64"/>
                    </a:lnTo>
                    <a:lnTo>
                      <a:pt x="80" y="80"/>
                    </a:lnTo>
                    <a:lnTo>
                      <a:pt x="80" y="64"/>
                    </a:lnTo>
                    <a:lnTo>
                      <a:pt x="72" y="72"/>
                    </a:lnTo>
                    <a:lnTo>
                      <a:pt x="64" y="96"/>
                    </a:lnTo>
                    <a:lnTo>
                      <a:pt x="56" y="96"/>
                    </a:lnTo>
                    <a:lnTo>
                      <a:pt x="24" y="96"/>
                    </a:lnTo>
                    <a:lnTo>
                      <a:pt x="0" y="112"/>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8" name="Freeform 370">
                <a:extLst>
                  <a:ext uri="{FF2B5EF4-FFF2-40B4-BE49-F238E27FC236}">
                    <a16:creationId xmlns:a16="http://schemas.microsoft.com/office/drawing/2014/main" id="{998BAB8F-539A-40BD-BB21-A285FB5BFDEE}"/>
                  </a:ext>
                </a:extLst>
              </p:cNvPr>
              <p:cNvSpPr>
                <a:spLocks/>
              </p:cNvSpPr>
              <p:nvPr/>
            </p:nvSpPr>
            <p:spPr bwMode="auto">
              <a:xfrm>
                <a:off x="3041823" y="1742503"/>
                <a:ext cx="340473" cy="338661"/>
              </a:xfrm>
              <a:custGeom>
                <a:avLst/>
                <a:gdLst>
                  <a:gd name="T0" fmla="*/ 0 w 137"/>
                  <a:gd name="T1" fmla="*/ 201753 h 129"/>
                  <a:gd name="T2" fmla="*/ 0 w 137"/>
                  <a:gd name="T3" fmla="*/ 216164 h 129"/>
                  <a:gd name="T4" fmla="*/ 28835 w 137"/>
                  <a:gd name="T5" fmla="*/ 216164 h 129"/>
                  <a:gd name="T6" fmla="*/ 86504 w 137"/>
                  <a:gd name="T7" fmla="*/ 187342 h 129"/>
                  <a:gd name="T8" fmla="*/ 100922 w 137"/>
                  <a:gd name="T9" fmla="*/ 201753 h 129"/>
                  <a:gd name="T10" fmla="*/ 100922 w 137"/>
                  <a:gd name="T11" fmla="*/ 216164 h 129"/>
                  <a:gd name="T12" fmla="*/ 115339 w 137"/>
                  <a:gd name="T13" fmla="*/ 230575 h 129"/>
                  <a:gd name="T14" fmla="*/ 129757 w 137"/>
                  <a:gd name="T15" fmla="*/ 201753 h 129"/>
                  <a:gd name="T16" fmla="*/ 129757 w 137"/>
                  <a:gd name="T17" fmla="*/ 187342 h 129"/>
                  <a:gd name="T18" fmla="*/ 144174 w 137"/>
                  <a:gd name="T19" fmla="*/ 201753 h 129"/>
                  <a:gd name="T20" fmla="*/ 158591 w 137"/>
                  <a:gd name="T21" fmla="*/ 201753 h 129"/>
                  <a:gd name="T22" fmla="*/ 173009 w 137"/>
                  <a:gd name="T23" fmla="*/ 187342 h 129"/>
                  <a:gd name="T24" fmla="*/ 187426 w 137"/>
                  <a:gd name="T25" fmla="*/ 201753 h 129"/>
                  <a:gd name="T26" fmla="*/ 187426 w 137"/>
                  <a:gd name="T27" fmla="*/ 187342 h 129"/>
                  <a:gd name="T28" fmla="*/ 201844 w 137"/>
                  <a:gd name="T29" fmla="*/ 172931 h 129"/>
                  <a:gd name="T30" fmla="*/ 201844 w 137"/>
                  <a:gd name="T31" fmla="*/ 187342 h 129"/>
                  <a:gd name="T32" fmla="*/ 216261 w 137"/>
                  <a:gd name="T33" fmla="*/ 187342 h 129"/>
                  <a:gd name="T34" fmla="*/ 230678 w 137"/>
                  <a:gd name="T35" fmla="*/ 172931 h 129"/>
                  <a:gd name="T36" fmla="*/ 230678 w 137"/>
                  <a:gd name="T37" fmla="*/ 100876 h 129"/>
                  <a:gd name="T38" fmla="*/ 245096 w 137"/>
                  <a:gd name="T39" fmla="*/ 100876 h 129"/>
                  <a:gd name="T40" fmla="*/ 245096 w 137"/>
                  <a:gd name="T41" fmla="*/ 72055 h 129"/>
                  <a:gd name="T42" fmla="*/ 245096 w 137"/>
                  <a:gd name="T43" fmla="*/ 14411 h 129"/>
                  <a:gd name="T44" fmla="*/ 230678 w 137"/>
                  <a:gd name="T45" fmla="*/ 0 h 129"/>
                  <a:gd name="T46" fmla="*/ 230678 w 137"/>
                  <a:gd name="T47" fmla="*/ 14411 h 129"/>
                  <a:gd name="T48" fmla="*/ 216261 w 137"/>
                  <a:gd name="T49" fmla="*/ 14411 h 129"/>
                  <a:gd name="T50" fmla="*/ 201844 w 137"/>
                  <a:gd name="T51" fmla="*/ 72055 h 129"/>
                  <a:gd name="T52" fmla="*/ 173009 w 137"/>
                  <a:gd name="T53" fmla="*/ 115287 h 129"/>
                  <a:gd name="T54" fmla="*/ 144174 w 137"/>
                  <a:gd name="T55" fmla="*/ 144109 h 129"/>
                  <a:gd name="T56" fmla="*/ 144174 w 137"/>
                  <a:gd name="T57" fmla="*/ 115287 h 129"/>
                  <a:gd name="T58" fmla="*/ 129757 w 137"/>
                  <a:gd name="T59" fmla="*/ 129698 h 129"/>
                  <a:gd name="T60" fmla="*/ 115339 w 137"/>
                  <a:gd name="T61" fmla="*/ 172931 h 129"/>
                  <a:gd name="T62" fmla="*/ 100922 w 137"/>
                  <a:gd name="T63" fmla="*/ 172931 h 129"/>
                  <a:gd name="T64" fmla="*/ 43252 w 137"/>
                  <a:gd name="T65" fmla="*/ 172931 h 129"/>
                  <a:gd name="T66" fmla="*/ 0 w 137"/>
                  <a:gd name="T67" fmla="*/ 201753 h 1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7"/>
                  <a:gd name="T103" fmla="*/ 0 h 129"/>
                  <a:gd name="T104" fmla="*/ 137 w 137"/>
                  <a:gd name="T105" fmla="*/ 129 h 12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7" h="129">
                    <a:moveTo>
                      <a:pt x="0" y="112"/>
                    </a:moveTo>
                    <a:lnTo>
                      <a:pt x="0" y="120"/>
                    </a:lnTo>
                    <a:lnTo>
                      <a:pt x="16" y="120"/>
                    </a:lnTo>
                    <a:lnTo>
                      <a:pt x="48" y="104"/>
                    </a:lnTo>
                    <a:lnTo>
                      <a:pt x="56" y="112"/>
                    </a:lnTo>
                    <a:lnTo>
                      <a:pt x="56" y="120"/>
                    </a:lnTo>
                    <a:lnTo>
                      <a:pt x="64" y="128"/>
                    </a:lnTo>
                    <a:lnTo>
                      <a:pt x="72" y="112"/>
                    </a:lnTo>
                    <a:lnTo>
                      <a:pt x="72" y="104"/>
                    </a:lnTo>
                    <a:lnTo>
                      <a:pt x="80" y="112"/>
                    </a:lnTo>
                    <a:lnTo>
                      <a:pt x="88" y="112"/>
                    </a:lnTo>
                    <a:lnTo>
                      <a:pt x="96" y="104"/>
                    </a:lnTo>
                    <a:lnTo>
                      <a:pt x="104" y="112"/>
                    </a:lnTo>
                    <a:lnTo>
                      <a:pt x="104" y="104"/>
                    </a:lnTo>
                    <a:lnTo>
                      <a:pt x="112" y="96"/>
                    </a:lnTo>
                    <a:lnTo>
                      <a:pt x="112" y="104"/>
                    </a:lnTo>
                    <a:lnTo>
                      <a:pt x="120" y="104"/>
                    </a:lnTo>
                    <a:lnTo>
                      <a:pt x="128" y="96"/>
                    </a:lnTo>
                    <a:lnTo>
                      <a:pt x="128" y="56"/>
                    </a:lnTo>
                    <a:lnTo>
                      <a:pt x="136" y="56"/>
                    </a:lnTo>
                    <a:lnTo>
                      <a:pt x="136" y="40"/>
                    </a:lnTo>
                    <a:lnTo>
                      <a:pt x="136" y="8"/>
                    </a:lnTo>
                    <a:lnTo>
                      <a:pt x="128" y="0"/>
                    </a:lnTo>
                    <a:lnTo>
                      <a:pt x="128" y="8"/>
                    </a:lnTo>
                    <a:lnTo>
                      <a:pt x="120" y="8"/>
                    </a:lnTo>
                    <a:lnTo>
                      <a:pt x="112" y="40"/>
                    </a:lnTo>
                    <a:lnTo>
                      <a:pt x="96" y="64"/>
                    </a:lnTo>
                    <a:lnTo>
                      <a:pt x="80" y="80"/>
                    </a:lnTo>
                    <a:lnTo>
                      <a:pt x="80" y="64"/>
                    </a:lnTo>
                    <a:lnTo>
                      <a:pt x="72" y="72"/>
                    </a:lnTo>
                    <a:lnTo>
                      <a:pt x="64" y="96"/>
                    </a:lnTo>
                    <a:lnTo>
                      <a:pt x="56" y="96"/>
                    </a:lnTo>
                    <a:lnTo>
                      <a:pt x="24" y="96"/>
                    </a:lnTo>
                    <a:lnTo>
                      <a:pt x="0" y="112"/>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79" name="Freeform 371">
                <a:extLst>
                  <a:ext uri="{FF2B5EF4-FFF2-40B4-BE49-F238E27FC236}">
                    <a16:creationId xmlns:a16="http://schemas.microsoft.com/office/drawing/2014/main" id="{C84BB40E-B790-4863-B3A2-627E6CD82F5A}"/>
                  </a:ext>
                </a:extLst>
              </p:cNvPr>
              <p:cNvSpPr>
                <a:spLocks/>
              </p:cNvSpPr>
              <p:nvPr/>
            </p:nvSpPr>
            <p:spPr bwMode="auto">
              <a:xfrm>
                <a:off x="3320166" y="1553486"/>
                <a:ext cx="201302" cy="191644"/>
              </a:xfrm>
              <a:custGeom>
                <a:avLst/>
                <a:gdLst>
                  <a:gd name="T0" fmla="*/ 0 w 81"/>
                  <a:gd name="T1" fmla="*/ 100877 h 73"/>
                  <a:gd name="T2" fmla="*/ 0 w 81"/>
                  <a:gd name="T3" fmla="*/ 100877 h 73"/>
                  <a:gd name="T4" fmla="*/ 0 w 81"/>
                  <a:gd name="T5" fmla="*/ 129699 h 73"/>
                  <a:gd name="T6" fmla="*/ 28835 w 81"/>
                  <a:gd name="T7" fmla="*/ 115288 h 73"/>
                  <a:gd name="T8" fmla="*/ 14417 w 81"/>
                  <a:gd name="T9" fmla="*/ 115288 h 73"/>
                  <a:gd name="T10" fmla="*/ 14417 w 81"/>
                  <a:gd name="T11" fmla="*/ 100877 h 73"/>
                  <a:gd name="T12" fmla="*/ 28835 w 81"/>
                  <a:gd name="T13" fmla="*/ 100877 h 73"/>
                  <a:gd name="T14" fmla="*/ 43252 w 81"/>
                  <a:gd name="T15" fmla="*/ 100877 h 73"/>
                  <a:gd name="T16" fmla="*/ 86504 w 81"/>
                  <a:gd name="T17" fmla="*/ 115288 h 73"/>
                  <a:gd name="T18" fmla="*/ 100922 w 81"/>
                  <a:gd name="T19" fmla="*/ 86466 h 73"/>
                  <a:gd name="T20" fmla="*/ 115339 w 81"/>
                  <a:gd name="T21" fmla="*/ 86466 h 73"/>
                  <a:gd name="T22" fmla="*/ 144174 w 81"/>
                  <a:gd name="T23" fmla="*/ 72055 h 73"/>
                  <a:gd name="T24" fmla="*/ 129756 w 81"/>
                  <a:gd name="T25" fmla="*/ 72055 h 73"/>
                  <a:gd name="T26" fmla="*/ 115339 w 81"/>
                  <a:gd name="T27" fmla="*/ 57644 h 73"/>
                  <a:gd name="T28" fmla="*/ 129756 w 81"/>
                  <a:gd name="T29" fmla="*/ 43233 h 73"/>
                  <a:gd name="T30" fmla="*/ 115339 w 81"/>
                  <a:gd name="T31" fmla="*/ 57644 h 73"/>
                  <a:gd name="T32" fmla="*/ 86504 w 81"/>
                  <a:gd name="T33" fmla="*/ 43233 h 73"/>
                  <a:gd name="T34" fmla="*/ 43252 w 81"/>
                  <a:gd name="T35" fmla="*/ 0 h 73"/>
                  <a:gd name="T36" fmla="*/ 43252 w 81"/>
                  <a:gd name="T37" fmla="*/ 14411 h 73"/>
                  <a:gd name="T38" fmla="*/ 43252 w 81"/>
                  <a:gd name="T39" fmla="*/ 28822 h 73"/>
                  <a:gd name="T40" fmla="*/ 28835 w 81"/>
                  <a:gd name="T41" fmla="*/ 86466 h 73"/>
                  <a:gd name="T42" fmla="*/ 14417 w 81"/>
                  <a:gd name="T43" fmla="*/ 72055 h 73"/>
                  <a:gd name="T44" fmla="*/ 14417 w 81"/>
                  <a:gd name="T45" fmla="*/ 86466 h 73"/>
                  <a:gd name="T46" fmla="*/ 0 w 81"/>
                  <a:gd name="T47" fmla="*/ 100877 h 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73"/>
                  <a:gd name="T74" fmla="*/ 81 w 81"/>
                  <a:gd name="T75" fmla="*/ 73 h 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73">
                    <a:moveTo>
                      <a:pt x="0" y="56"/>
                    </a:moveTo>
                    <a:lnTo>
                      <a:pt x="0" y="56"/>
                    </a:lnTo>
                    <a:lnTo>
                      <a:pt x="0" y="72"/>
                    </a:lnTo>
                    <a:lnTo>
                      <a:pt x="16" y="64"/>
                    </a:lnTo>
                    <a:lnTo>
                      <a:pt x="8" y="64"/>
                    </a:lnTo>
                    <a:lnTo>
                      <a:pt x="8" y="56"/>
                    </a:lnTo>
                    <a:lnTo>
                      <a:pt x="16" y="56"/>
                    </a:lnTo>
                    <a:lnTo>
                      <a:pt x="24" y="56"/>
                    </a:lnTo>
                    <a:lnTo>
                      <a:pt x="48" y="64"/>
                    </a:lnTo>
                    <a:lnTo>
                      <a:pt x="56" y="48"/>
                    </a:lnTo>
                    <a:lnTo>
                      <a:pt x="64" y="48"/>
                    </a:lnTo>
                    <a:lnTo>
                      <a:pt x="80" y="40"/>
                    </a:lnTo>
                    <a:lnTo>
                      <a:pt x="72" y="40"/>
                    </a:lnTo>
                    <a:lnTo>
                      <a:pt x="64" y="32"/>
                    </a:lnTo>
                    <a:lnTo>
                      <a:pt x="72" y="24"/>
                    </a:lnTo>
                    <a:lnTo>
                      <a:pt x="64" y="32"/>
                    </a:lnTo>
                    <a:lnTo>
                      <a:pt x="48" y="24"/>
                    </a:lnTo>
                    <a:lnTo>
                      <a:pt x="24" y="0"/>
                    </a:lnTo>
                    <a:lnTo>
                      <a:pt x="24" y="8"/>
                    </a:lnTo>
                    <a:lnTo>
                      <a:pt x="24" y="16"/>
                    </a:lnTo>
                    <a:lnTo>
                      <a:pt x="16" y="48"/>
                    </a:lnTo>
                    <a:lnTo>
                      <a:pt x="8" y="40"/>
                    </a:lnTo>
                    <a:lnTo>
                      <a:pt x="8" y="48"/>
                    </a:lnTo>
                    <a:lnTo>
                      <a:pt x="0" y="56"/>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80" name="Freeform 372">
                <a:extLst>
                  <a:ext uri="{FF2B5EF4-FFF2-40B4-BE49-F238E27FC236}">
                    <a16:creationId xmlns:a16="http://schemas.microsoft.com/office/drawing/2014/main" id="{D863BE43-6C30-4FC9-81F9-54BD02CFD3B3}"/>
                  </a:ext>
                </a:extLst>
              </p:cNvPr>
              <p:cNvSpPr>
                <a:spLocks/>
              </p:cNvSpPr>
              <p:nvPr/>
            </p:nvSpPr>
            <p:spPr bwMode="auto">
              <a:xfrm>
                <a:off x="3320166" y="1553486"/>
                <a:ext cx="201302" cy="191644"/>
              </a:xfrm>
              <a:custGeom>
                <a:avLst/>
                <a:gdLst>
                  <a:gd name="T0" fmla="*/ 0 w 81"/>
                  <a:gd name="T1" fmla="*/ 100877 h 73"/>
                  <a:gd name="T2" fmla="*/ 0 w 81"/>
                  <a:gd name="T3" fmla="*/ 129699 h 73"/>
                  <a:gd name="T4" fmla="*/ 28835 w 81"/>
                  <a:gd name="T5" fmla="*/ 115288 h 73"/>
                  <a:gd name="T6" fmla="*/ 14417 w 81"/>
                  <a:gd name="T7" fmla="*/ 115288 h 73"/>
                  <a:gd name="T8" fmla="*/ 14417 w 81"/>
                  <a:gd name="T9" fmla="*/ 100877 h 73"/>
                  <a:gd name="T10" fmla="*/ 28835 w 81"/>
                  <a:gd name="T11" fmla="*/ 100877 h 73"/>
                  <a:gd name="T12" fmla="*/ 43252 w 81"/>
                  <a:gd name="T13" fmla="*/ 100877 h 73"/>
                  <a:gd name="T14" fmla="*/ 86504 w 81"/>
                  <a:gd name="T15" fmla="*/ 115288 h 73"/>
                  <a:gd name="T16" fmla="*/ 100922 w 81"/>
                  <a:gd name="T17" fmla="*/ 86466 h 73"/>
                  <a:gd name="T18" fmla="*/ 115339 w 81"/>
                  <a:gd name="T19" fmla="*/ 86466 h 73"/>
                  <a:gd name="T20" fmla="*/ 144174 w 81"/>
                  <a:gd name="T21" fmla="*/ 72055 h 73"/>
                  <a:gd name="T22" fmla="*/ 129756 w 81"/>
                  <a:gd name="T23" fmla="*/ 72055 h 73"/>
                  <a:gd name="T24" fmla="*/ 115339 w 81"/>
                  <a:gd name="T25" fmla="*/ 57644 h 73"/>
                  <a:gd name="T26" fmla="*/ 129756 w 81"/>
                  <a:gd name="T27" fmla="*/ 43233 h 73"/>
                  <a:gd name="T28" fmla="*/ 115339 w 81"/>
                  <a:gd name="T29" fmla="*/ 57644 h 73"/>
                  <a:gd name="T30" fmla="*/ 86504 w 81"/>
                  <a:gd name="T31" fmla="*/ 43233 h 73"/>
                  <a:gd name="T32" fmla="*/ 43252 w 81"/>
                  <a:gd name="T33" fmla="*/ 0 h 73"/>
                  <a:gd name="T34" fmla="*/ 43252 w 81"/>
                  <a:gd name="T35" fmla="*/ 14411 h 73"/>
                  <a:gd name="T36" fmla="*/ 43252 w 81"/>
                  <a:gd name="T37" fmla="*/ 28822 h 73"/>
                  <a:gd name="T38" fmla="*/ 28835 w 81"/>
                  <a:gd name="T39" fmla="*/ 86466 h 73"/>
                  <a:gd name="T40" fmla="*/ 14417 w 81"/>
                  <a:gd name="T41" fmla="*/ 72055 h 73"/>
                  <a:gd name="T42" fmla="*/ 14417 w 81"/>
                  <a:gd name="T43" fmla="*/ 86466 h 73"/>
                  <a:gd name="T44" fmla="*/ 0 w 81"/>
                  <a:gd name="T45" fmla="*/ 100877 h 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1"/>
                  <a:gd name="T70" fmla="*/ 0 h 73"/>
                  <a:gd name="T71" fmla="*/ 81 w 81"/>
                  <a:gd name="T72" fmla="*/ 73 h 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1" h="73">
                    <a:moveTo>
                      <a:pt x="0" y="56"/>
                    </a:moveTo>
                    <a:lnTo>
                      <a:pt x="0" y="72"/>
                    </a:lnTo>
                    <a:lnTo>
                      <a:pt x="16" y="64"/>
                    </a:lnTo>
                    <a:lnTo>
                      <a:pt x="8" y="64"/>
                    </a:lnTo>
                    <a:lnTo>
                      <a:pt x="8" y="56"/>
                    </a:lnTo>
                    <a:lnTo>
                      <a:pt x="16" y="56"/>
                    </a:lnTo>
                    <a:lnTo>
                      <a:pt x="24" y="56"/>
                    </a:lnTo>
                    <a:lnTo>
                      <a:pt x="48" y="64"/>
                    </a:lnTo>
                    <a:lnTo>
                      <a:pt x="56" y="48"/>
                    </a:lnTo>
                    <a:lnTo>
                      <a:pt x="64" y="48"/>
                    </a:lnTo>
                    <a:lnTo>
                      <a:pt x="80" y="40"/>
                    </a:lnTo>
                    <a:lnTo>
                      <a:pt x="72" y="40"/>
                    </a:lnTo>
                    <a:lnTo>
                      <a:pt x="64" y="32"/>
                    </a:lnTo>
                    <a:lnTo>
                      <a:pt x="72" y="24"/>
                    </a:lnTo>
                    <a:lnTo>
                      <a:pt x="64" y="32"/>
                    </a:lnTo>
                    <a:lnTo>
                      <a:pt x="48" y="24"/>
                    </a:lnTo>
                    <a:lnTo>
                      <a:pt x="24" y="0"/>
                    </a:lnTo>
                    <a:lnTo>
                      <a:pt x="24" y="8"/>
                    </a:lnTo>
                    <a:lnTo>
                      <a:pt x="24" y="16"/>
                    </a:lnTo>
                    <a:lnTo>
                      <a:pt x="16" y="48"/>
                    </a:lnTo>
                    <a:lnTo>
                      <a:pt x="8" y="40"/>
                    </a:lnTo>
                    <a:lnTo>
                      <a:pt x="8" y="48"/>
                    </a:lnTo>
                    <a:lnTo>
                      <a:pt x="0" y="56"/>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81" name="Freeform 373">
                <a:extLst>
                  <a:ext uri="{FF2B5EF4-FFF2-40B4-BE49-F238E27FC236}">
                    <a16:creationId xmlns:a16="http://schemas.microsoft.com/office/drawing/2014/main" id="{874E8D05-72AB-43A5-9AC0-17D1FF96DDC1}"/>
                  </a:ext>
                </a:extLst>
              </p:cNvPr>
              <p:cNvSpPr>
                <a:spLocks/>
              </p:cNvSpPr>
              <p:nvPr/>
            </p:nvSpPr>
            <p:spPr bwMode="auto">
              <a:xfrm>
                <a:off x="3538863" y="1553486"/>
                <a:ext cx="62129" cy="65633"/>
              </a:xfrm>
              <a:custGeom>
                <a:avLst/>
                <a:gdLst>
                  <a:gd name="T0" fmla="*/ 0 w 25"/>
                  <a:gd name="T1" fmla="*/ 43233 h 25"/>
                  <a:gd name="T2" fmla="*/ 0 w 25"/>
                  <a:gd name="T3" fmla="*/ 43233 h 25"/>
                  <a:gd name="T4" fmla="*/ 43252 w 25"/>
                  <a:gd name="T5" fmla="*/ 0 h 25"/>
                  <a:gd name="T6" fmla="*/ 28835 w 25"/>
                  <a:gd name="T7" fmla="*/ 14411 h 25"/>
                  <a:gd name="T8" fmla="*/ 0 w 25"/>
                  <a:gd name="T9" fmla="*/ 43233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24"/>
                    </a:moveTo>
                    <a:lnTo>
                      <a:pt x="0" y="24"/>
                    </a:lnTo>
                    <a:lnTo>
                      <a:pt x="24" y="0"/>
                    </a:lnTo>
                    <a:lnTo>
                      <a:pt x="16" y="8"/>
                    </a:lnTo>
                    <a:lnTo>
                      <a:pt x="0" y="24"/>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82" name="Freeform 374">
                <a:extLst>
                  <a:ext uri="{FF2B5EF4-FFF2-40B4-BE49-F238E27FC236}">
                    <a16:creationId xmlns:a16="http://schemas.microsoft.com/office/drawing/2014/main" id="{87EEACED-1B33-42C6-A362-2C94909CC227}"/>
                  </a:ext>
                </a:extLst>
              </p:cNvPr>
              <p:cNvSpPr>
                <a:spLocks/>
              </p:cNvSpPr>
              <p:nvPr/>
            </p:nvSpPr>
            <p:spPr bwMode="auto">
              <a:xfrm>
                <a:off x="3538863" y="1553486"/>
                <a:ext cx="62129" cy="65633"/>
              </a:xfrm>
              <a:custGeom>
                <a:avLst/>
                <a:gdLst>
                  <a:gd name="T0" fmla="*/ 0 w 25"/>
                  <a:gd name="T1" fmla="*/ 43233 h 25"/>
                  <a:gd name="T2" fmla="*/ 43252 w 25"/>
                  <a:gd name="T3" fmla="*/ 0 h 25"/>
                  <a:gd name="T4" fmla="*/ 28835 w 25"/>
                  <a:gd name="T5" fmla="*/ 14411 h 25"/>
                  <a:gd name="T6" fmla="*/ 0 w 25"/>
                  <a:gd name="T7" fmla="*/ 43233 h 25"/>
                  <a:gd name="T8" fmla="*/ 0 60000 65536"/>
                  <a:gd name="T9" fmla="*/ 0 60000 65536"/>
                  <a:gd name="T10" fmla="*/ 0 60000 65536"/>
                  <a:gd name="T11" fmla="*/ 0 60000 65536"/>
                  <a:gd name="T12" fmla="*/ 0 w 25"/>
                  <a:gd name="T13" fmla="*/ 0 h 25"/>
                  <a:gd name="T14" fmla="*/ 25 w 25"/>
                  <a:gd name="T15" fmla="*/ 25 h 25"/>
                </a:gdLst>
                <a:ahLst/>
                <a:cxnLst>
                  <a:cxn ang="T8">
                    <a:pos x="T0" y="T1"/>
                  </a:cxn>
                  <a:cxn ang="T9">
                    <a:pos x="T2" y="T3"/>
                  </a:cxn>
                  <a:cxn ang="T10">
                    <a:pos x="T4" y="T5"/>
                  </a:cxn>
                  <a:cxn ang="T11">
                    <a:pos x="T6" y="T7"/>
                  </a:cxn>
                </a:cxnLst>
                <a:rect l="T12" t="T13" r="T14" b="T15"/>
                <a:pathLst>
                  <a:path w="25" h="25">
                    <a:moveTo>
                      <a:pt x="0" y="24"/>
                    </a:moveTo>
                    <a:lnTo>
                      <a:pt x="24" y="0"/>
                    </a:lnTo>
                    <a:lnTo>
                      <a:pt x="16" y="8"/>
                    </a:lnTo>
                    <a:lnTo>
                      <a:pt x="0" y="24"/>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83" name="Freeform 379">
                <a:extLst>
                  <a:ext uri="{FF2B5EF4-FFF2-40B4-BE49-F238E27FC236}">
                    <a16:creationId xmlns:a16="http://schemas.microsoft.com/office/drawing/2014/main" id="{D79C63F6-FCB1-43EC-A188-7EBDA4B8D728}"/>
                  </a:ext>
                </a:extLst>
              </p:cNvPr>
              <p:cNvSpPr>
                <a:spLocks/>
              </p:cNvSpPr>
              <p:nvPr/>
            </p:nvSpPr>
            <p:spPr bwMode="auto">
              <a:xfrm>
                <a:off x="3379810" y="1112440"/>
                <a:ext cx="82011" cy="443671"/>
              </a:xfrm>
              <a:custGeom>
                <a:avLst/>
                <a:gdLst>
                  <a:gd name="T0" fmla="*/ 0 w 33"/>
                  <a:gd name="T1" fmla="*/ 28822 h 169"/>
                  <a:gd name="T2" fmla="*/ 0 w 33"/>
                  <a:gd name="T3" fmla="*/ 28822 h 169"/>
                  <a:gd name="T4" fmla="*/ 0 w 33"/>
                  <a:gd name="T5" fmla="*/ 100876 h 169"/>
                  <a:gd name="T6" fmla="*/ 14417 w 33"/>
                  <a:gd name="T7" fmla="*/ 115287 h 169"/>
                  <a:gd name="T8" fmla="*/ 0 w 33"/>
                  <a:gd name="T9" fmla="*/ 201752 h 169"/>
                  <a:gd name="T10" fmla="*/ 14417 w 33"/>
                  <a:gd name="T11" fmla="*/ 230574 h 169"/>
                  <a:gd name="T12" fmla="*/ 0 w 33"/>
                  <a:gd name="T13" fmla="*/ 273807 h 169"/>
                  <a:gd name="T14" fmla="*/ 14417 w 33"/>
                  <a:gd name="T15" fmla="*/ 302629 h 169"/>
                  <a:gd name="T16" fmla="*/ 14417 w 33"/>
                  <a:gd name="T17" fmla="*/ 273807 h 169"/>
                  <a:gd name="T18" fmla="*/ 43252 w 33"/>
                  <a:gd name="T19" fmla="*/ 288218 h 169"/>
                  <a:gd name="T20" fmla="*/ 43252 w 33"/>
                  <a:gd name="T21" fmla="*/ 273807 h 169"/>
                  <a:gd name="T22" fmla="*/ 14417 w 33"/>
                  <a:gd name="T23" fmla="*/ 230574 h 169"/>
                  <a:gd name="T24" fmla="*/ 28835 w 33"/>
                  <a:gd name="T25" fmla="*/ 187342 h 169"/>
                  <a:gd name="T26" fmla="*/ 43252 w 33"/>
                  <a:gd name="T27" fmla="*/ 187342 h 169"/>
                  <a:gd name="T28" fmla="*/ 57670 w 33"/>
                  <a:gd name="T29" fmla="*/ 187342 h 169"/>
                  <a:gd name="T30" fmla="*/ 28835 w 33"/>
                  <a:gd name="T31" fmla="*/ 86465 h 169"/>
                  <a:gd name="T32" fmla="*/ 28835 w 33"/>
                  <a:gd name="T33" fmla="*/ 14411 h 169"/>
                  <a:gd name="T34" fmla="*/ 28835 w 33"/>
                  <a:gd name="T35" fmla="*/ 0 h 169"/>
                  <a:gd name="T36" fmla="*/ 14417 w 33"/>
                  <a:gd name="T37" fmla="*/ 0 h 169"/>
                  <a:gd name="T38" fmla="*/ 14417 w 33"/>
                  <a:gd name="T39" fmla="*/ 14411 h 169"/>
                  <a:gd name="T40" fmla="*/ 0 w 33"/>
                  <a:gd name="T41" fmla="*/ 28822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169"/>
                  <a:gd name="T65" fmla="*/ 33 w 33"/>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169">
                    <a:moveTo>
                      <a:pt x="0" y="16"/>
                    </a:moveTo>
                    <a:lnTo>
                      <a:pt x="0" y="16"/>
                    </a:lnTo>
                    <a:lnTo>
                      <a:pt x="0" y="56"/>
                    </a:lnTo>
                    <a:lnTo>
                      <a:pt x="8" y="64"/>
                    </a:lnTo>
                    <a:lnTo>
                      <a:pt x="0" y="112"/>
                    </a:lnTo>
                    <a:lnTo>
                      <a:pt x="8" y="128"/>
                    </a:lnTo>
                    <a:lnTo>
                      <a:pt x="0" y="152"/>
                    </a:lnTo>
                    <a:lnTo>
                      <a:pt x="8" y="168"/>
                    </a:lnTo>
                    <a:lnTo>
                      <a:pt x="8" y="152"/>
                    </a:lnTo>
                    <a:lnTo>
                      <a:pt x="24" y="160"/>
                    </a:lnTo>
                    <a:lnTo>
                      <a:pt x="24" y="152"/>
                    </a:lnTo>
                    <a:lnTo>
                      <a:pt x="8" y="128"/>
                    </a:lnTo>
                    <a:lnTo>
                      <a:pt x="16" y="104"/>
                    </a:lnTo>
                    <a:lnTo>
                      <a:pt x="24" y="104"/>
                    </a:lnTo>
                    <a:lnTo>
                      <a:pt x="32" y="104"/>
                    </a:lnTo>
                    <a:lnTo>
                      <a:pt x="16" y="48"/>
                    </a:lnTo>
                    <a:lnTo>
                      <a:pt x="16" y="8"/>
                    </a:lnTo>
                    <a:lnTo>
                      <a:pt x="16" y="0"/>
                    </a:lnTo>
                    <a:lnTo>
                      <a:pt x="8" y="0"/>
                    </a:lnTo>
                    <a:lnTo>
                      <a:pt x="8" y="8"/>
                    </a:lnTo>
                    <a:lnTo>
                      <a:pt x="0" y="16"/>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84" name="Freeform 380">
                <a:extLst>
                  <a:ext uri="{FF2B5EF4-FFF2-40B4-BE49-F238E27FC236}">
                    <a16:creationId xmlns:a16="http://schemas.microsoft.com/office/drawing/2014/main" id="{A53FD037-14A7-4F16-B312-798B54037D26}"/>
                  </a:ext>
                </a:extLst>
              </p:cNvPr>
              <p:cNvSpPr>
                <a:spLocks/>
              </p:cNvSpPr>
              <p:nvPr/>
            </p:nvSpPr>
            <p:spPr bwMode="auto">
              <a:xfrm>
                <a:off x="3379810" y="1112440"/>
                <a:ext cx="82011" cy="443671"/>
              </a:xfrm>
              <a:custGeom>
                <a:avLst/>
                <a:gdLst>
                  <a:gd name="T0" fmla="*/ 0 w 33"/>
                  <a:gd name="T1" fmla="*/ 28822 h 169"/>
                  <a:gd name="T2" fmla="*/ 0 w 33"/>
                  <a:gd name="T3" fmla="*/ 100876 h 169"/>
                  <a:gd name="T4" fmla="*/ 14417 w 33"/>
                  <a:gd name="T5" fmla="*/ 115287 h 169"/>
                  <a:gd name="T6" fmla="*/ 0 w 33"/>
                  <a:gd name="T7" fmla="*/ 201752 h 169"/>
                  <a:gd name="T8" fmla="*/ 14417 w 33"/>
                  <a:gd name="T9" fmla="*/ 230574 h 169"/>
                  <a:gd name="T10" fmla="*/ 0 w 33"/>
                  <a:gd name="T11" fmla="*/ 273807 h 169"/>
                  <a:gd name="T12" fmla="*/ 14417 w 33"/>
                  <a:gd name="T13" fmla="*/ 302629 h 169"/>
                  <a:gd name="T14" fmla="*/ 14417 w 33"/>
                  <a:gd name="T15" fmla="*/ 273807 h 169"/>
                  <a:gd name="T16" fmla="*/ 43252 w 33"/>
                  <a:gd name="T17" fmla="*/ 288218 h 169"/>
                  <a:gd name="T18" fmla="*/ 43252 w 33"/>
                  <a:gd name="T19" fmla="*/ 273807 h 169"/>
                  <a:gd name="T20" fmla="*/ 14417 w 33"/>
                  <a:gd name="T21" fmla="*/ 230574 h 169"/>
                  <a:gd name="T22" fmla="*/ 28835 w 33"/>
                  <a:gd name="T23" fmla="*/ 187342 h 169"/>
                  <a:gd name="T24" fmla="*/ 43252 w 33"/>
                  <a:gd name="T25" fmla="*/ 187342 h 169"/>
                  <a:gd name="T26" fmla="*/ 57670 w 33"/>
                  <a:gd name="T27" fmla="*/ 187342 h 169"/>
                  <a:gd name="T28" fmla="*/ 28835 w 33"/>
                  <a:gd name="T29" fmla="*/ 86465 h 169"/>
                  <a:gd name="T30" fmla="*/ 28835 w 33"/>
                  <a:gd name="T31" fmla="*/ 14411 h 169"/>
                  <a:gd name="T32" fmla="*/ 28835 w 33"/>
                  <a:gd name="T33" fmla="*/ 0 h 169"/>
                  <a:gd name="T34" fmla="*/ 14417 w 33"/>
                  <a:gd name="T35" fmla="*/ 0 h 169"/>
                  <a:gd name="T36" fmla="*/ 14417 w 33"/>
                  <a:gd name="T37" fmla="*/ 14411 h 169"/>
                  <a:gd name="T38" fmla="*/ 0 w 33"/>
                  <a:gd name="T39" fmla="*/ 28822 h 1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
                  <a:gd name="T61" fmla="*/ 0 h 169"/>
                  <a:gd name="T62" fmla="*/ 33 w 33"/>
                  <a:gd name="T63" fmla="*/ 169 h 1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 h="169">
                    <a:moveTo>
                      <a:pt x="0" y="16"/>
                    </a:moveTo>
                    <a:lnTo>
                      <a:pt x="0" y="56"/>
                    </a:lnTo>
                    <a:lnTo>
                      <a:pt x="8" y="64"/>
                    </a:lnTo>
                    <a:lnTo>
                      <a:pt x="0" y="112"/>
                    </a:lnTo>
                    <a:lnTo>
                      <a:pt x="8" y="128"/>
                    </a:lnTo>
                    <a:lnTo>
                      <a:pt x="0" y="152"/>
                    </a:lnTo>
                    <a:lnTo>
                      <a:pt x="8" y="168"/>
                    </a:lnTo>
                    <a:lnTo>
                      <a:pt x="8" y="152"/>
                    </a:lnTo>
                    <a:lnTo>
                      <a:pt x="24" y="160"/>
                    </a:lnTo>
                    <a:lnTo>
                      <a:pt x="24" y="152"/>
                    </a:lnTo>
                    <a:lnTo>
                      <a:pt x="8" y="128"/>
                    </a:lnTo>
                    <a:lnTo>
                      <a:pt x="16" y="104"/>
                    </a:lnTo>
                    <a:lnTo>
                      <a:pt x="24" y="104"/>
                    </a:lnTo>
                    <a:lnTo>
                      <a:pt x="32" y="104"/>
                    </a:lnTo>
                    <a:lnTo>
                      <a:pt x="16" y="48"/>
                    </a:lnTo>
                    <a:lnTo>
                      <a:pt x="16" y="8"/>
                    </a:lnTo>
                    <a:lnTo>
                      <a:pt x="16" y="0"/>
                    </a:lnTo>
                    <a:lnTo>
                      <a:pt x="8" y="0"/>
                    </a:lnTo>
                    <a:lnTo>
                      <a:pt x="8" y="8"/>
                    </a:lnTo>
                    <a:lnTo>
                      <a:pt x="0" y="16"/>
                    </a:lnTo>
                  </a:path>
                </a:pathLst>
              </a:custGeom>
              <a:solidFill>
                <a:srgbClr val="0070C0"/>
              </a:solidFill>
              <a:ln w="3175" cap="rnd" cmpd="sng">
                <a:solidFill>
                  <a:schemeClr val="accent6"/>
                </a:solidFill>
                <a:prstDash val="solid"/>
                <a:round/>
                <a:headEnd type="none" w="med" len="med"/>
                <a:tailEnd type="none" w="med" len="med"/>
              </a:ln>
            </p:spPr>
            <p:txBody>
              <a:bodyPr/>
              <a:lstStyle/>
              <a:p>
                <a:endParaRPr lang="en-AU" sz="759">
                  <a:solidFill>
                    <a:srgbClr val="2167AE"/>
                  </a:solidFill>
                  <a:latin typeface="Zurich Sans" panose="02000500000000000000" pitchFamily="2" charset="0"/>
                  <a:cs typeface="Arial" charset="0"/>
                </a:endParaRPr>
              </a:p>
            </p:txBody>
          </p:sp>
          <p:sp>
            <p:nvSpPr>
              <p:cNvPr id="85" name="Freeform 423">
                <a:extLst>
                  <a:ext uri="{FF2B5EF4-FFF2-40B4-BE49-F238E27FC236}">
                    <a16:creationId xmlns:a16="http://schemas.microsoft.com/office/drawing/2014/main" id="{079D4515-52AC-4CA7-A6B2-60CE41014007}"/>
                  </a:ext>
                </a:extLst>
              </p:cNvPr>
              <p:cNvSpPr>
                <a:spLocks/>
              </p:cNvSpPr>
              <p:nvPr/>
            </p:nvSpPr>
            <p:spPr bwMode="auto">
              <a:xfrm>
                <a:off x="2485135" y="3611698"/>
                <a:ext cx="1274912" cy="1052732"/>
              </a:xfrm>
              <a:custGeom>
                <a:avLst/>
                <a:gdLst>
                  <a:gd name="T0" fmla="*/ 43252 w 513"/>
                  <a:gd name="T1" fmla="*/ 576437 h 401"/>
                  <a:gd name="T2" fmla="*/ 115339 w 513"/>
                  <a:gd name="T3" fmla="*/ 605258 h 401"/>
                  <a:gd name="T4" fmla="*/ 230679 w 513"/>
                  <a:gd name="T5" fmla="*/ 562026 h 401"/>
                  <a:gd name="T6" fmla="*/ 302766 w 513"/>
                  <a:gd name="T7" fmla="*/ 518793 h 401"/>
                  <a:gd name="T8" fmla="*/ 475775 w 513"/>
                  <a:gd name="T9" fmla="*/ 533204 h 401"/>
                  <a:gd name="T10" fmla="*/ 490193 w 513"/>
                  <a:gd name="T11" fmla="*/ 547615 h 401"/>
                  <a:gd name="T12" fmla="*/ 562280 w 513"/>
                  <a:gd name="T13" fmla="*/ 533204 h 401"/>
                  <a:gd name="T14" fmla="*/ 547862 w 513"/>
                  <a:gd name="T15" fmla="*/ 605258 h 401"/>
                  <a:gd name="T16" fmla="*/ 562280 w 513"/>
                  <a:gd name="T17" fmla="*/ 576437 h 401"/>
                  <a:gd name="T18" fmla="*/ 562280 w 513"/>
                  <a:gd name="T19" fmla="*/ 619669 h 401"/>
                  <a:gd name="T20" fmla="*/ 605532 w 513"/>
                  <a:gd name="T21" fmla="*/ 648491 h 401"/>
                  <a:gd name="T22" fmla="*/ 619950 w 513"/>
                  <a:gd name="T23" fmla="*/ 677313 h 401"/>
                  <a:gd name="T24" fmla="*/ 677619 w 513"/>
                  <a:gd name="T25" fmla="*/ 691724 h 401"/>
                  <a:gd name="T26" fmla="*/ 720872 w 513"/>
                  <a:gd name="T27" fmla="*/ 677313 h 401"/>
                  <a:gd name="T28" fmla="*/ 735289 w 513"/>
                  <a:gd name="T29" fmla="*/ 691724 h 401"/>
                  <a:gd name="T30" fmla="*/ 764124 w 513"/>
                  <a:gd name="T31" fmla="*/ 720546 h 401"/>
                  <a:gd name="T32" fmla="*/ 836211 w 513"/>
                  <a:gd name="T33" fmla="*/ 677313 h 401"/>
                  <a:gd name="T34" fmla="*/ 908298 w 513"/>
                  <a:gd name="T35" fmla="*/ 489971 h 401"/>
                  <a:gd name="T36" fmla="*/ 908298 w 513"/>
                  <a:gd name="T37" fmla="*/ 360273 h 401"/>
                  <a:gd name="T38" fmla="*/ 865046 w 513"/>
                  <a:gd name="T39" fmla="*/ 302629 h 401"/>
                  <a:gd name="T40" fmla="*/ 836211 w 513"/>
                  <a:gd name="T41" fmla="*/ 259396 h 401"/>
                  <a:gd name="T42" fmla="*/ 807376 w 513"/>
                  <a:gd name="T43" fmla="*/ 230575 h 401"/>
                  <a:gd name="T44" fmla="*/ 749706 w 513"/>
                  <a:gd name="T45" fmla="*/ 144109 h 401"/>
                  <a:gd name="T46" fmla="*/ 735289 w 513"/>
                  <a:gd name="T47" fmla="*/ 100876 h 401"/>
                  <a:gd name="T48" fmla="*/ 692037 w 513"/>
                  <a:gd name="T49" fmla="*/ 86465 h 401"/>
                  <a:gd name="T50" fmla="*/ 663202 w 513"/>
                  <a:gd name="T51" fmla="*/ 0 h 401"/>
                  <a:gd name="T52" fmla="*/ 648784 w 513"/>
                  <a:gd name="T53" fmla="*/ 100876 h 401"/>
                  <a:gd name="T54" fmla="*/ 605532 w 513"/>
                  <a:gd name="T55" fmla="*/ 158520 h 401"/>
                  <a:gd name="T56" fmla="*/ 533445 w 513"/>
                  <a:gd name="T57" fmla="*/ 115287 h 401"/>
                  <a:gd name="T58" fmla="*/ 504610 w 513"/>
                  <a:gd name="T59" fmla="*/ 100876 h 401"/>
                  <a:gd name="T60" fmla="*/ 533445 w 513"/>
                  <a:gd name="T61" fmla="*/ 57644 h 401"/>
                  <a:gd name="T62" fmla="*/ 533445 w 513"/>
                  <a:gd name="T63" fmla="*/ 28822 h 401"/>
                  <a:gd name="T64" fmla="*/ 519028 w 513"/>
                  <a:gd name="T65" fmla="*/ 28822 h 401"/>
                  <a:gd name="T66" fmla="*/ 432523 w 513"/>
                  <a:gd name="T67" fmla="*/ 14411 h 401"/>
                  <a:gd name="T68" fmla="*/ 432523 w 513"/>
                  <a:gd name="T69" fmla="*/ 28822 h 401"/>
                  <a:gd name="T70" fmla="*/ 389271 w 513"/>
                  <a:gd name="T71" fmla="*/ 43233 h 401"/>
                  <a:gd name="T72" fmla="*/ 374853 w 513"/>
                  <a:gd name="T73" fmla="*/ 57644 h 401"/>
                  <a:gd name="T74" fmla="*/ 374853 w 513"/>
                  <a:gd name="T75" fmla="*/ 100876 h 401"/>
                  <a:gd name="T76" fmla="*/ 346018 w 513"/>
                  <a:gd name="T77" fmla="*/ 100876 h 401"/>
                  <a:gd name="T78" fmla="*/ 331601 w 513"/>
                  <a:gd name="T79" fmla="*/ 72055 h 401"/>
                  <a:gd name="T80" fmla="*/ 288349 w 513"/>
                  <a:gd name="T81" fmla="*/ 86465 h 401"/>
                  <a:gd name="T82" fmla="*/ 259514 w 513"/>
                  <a:gd name="T83" fmla="*/ 129698 h 401"/>
                  <a:gd name="T84" fmla="*/ 230679 w 513"/>
                  <a:gd name="T85" fmla="*/ 129698 h 401"/>
                  <a:gd name="T86" fmla="*/ 230679 w 513"/>
                  <a:gd name="T87" fmla="*/ 158520 h 401"/>
                  <a:gd name="T88" fmla="*/ 201844 w 513"/>
                  <a:gd name="T89" fmla="*/ 158520 h 401"/>
                  <a:gd name="T90" fmla="*/ 173009 w 513"/>
                  <a:gd name="T91" fmla="*/ 201753 h 401"/>
                  <a:gd name="T92" fmla="*/ 28835 w 513"/>
                  <a:gd name="T93" fmla="*/ 273807 h 401"/>
                  <a:gd name="T94" fmla="*/ 14417 w 513"/>
                  <a:gd name="T95" fmla="*/ 273807 h 401"/>
                  <a:gd name="T96" fmla="*/ 0 w 513"/>
                  <a:gd name="T97" fmla="*/ 302629 h 401"/>
                  <a:gd name="T98" fmla="*/ 14417 w 513"/>
                  <a:gd name="T99" fmla="*/ 345862 h 401"/>
                  <a:gd name="T100" fmla="*/ 0 w 513"/>
                  <a:gd name="T101" fmla="*/ 360273 h 401"/>
                  <a:gd name="T102" fmla="*/ 57670 w 513"/>
                  <a:gd name="T103" fmla="*/ 504382 h 401"/>
                  <a:gd name="T104" fmla="*/ 43252 w 513"/>
                  <a:gd name="T105" fmla="*/ 562026 h 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13"/>
                  <a:gd name="T160" fmla="*/ 0 h 401"/>
                  <a:gd name="T161" fmla="*/ 513 w 513"/>
                  <a:gd name="T162" fmla="*/ 401 h 4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13" h="401">
                    <a:moveTo>
                      <a:pt x="24" y="320"/>
                    </a:moveTo>
                    <a:lnTo>
                      <a:pt x="24" y="320"/>
                    </a:lnTo>
                    <a:lnTo>
                      <a:pt x="48" y="336"/>
                    </a:lnTo>
                    <a:lnTo>
                      <a:pt x="64" y="336"/>
                    </a:lnTo>
                    <a:lnTo>
                      <a:pt x="88" y="312"/>
                    </a:lnTo>
                    <a:lnTo>
                      <a:pt x="128" y="312"/>
                    </a:lnTo>
                    <a:lnTo>
                      <a:pt x="136" y="304"/>
                    </a:lnTo>
                    <a:lnTo>
                      <a:pt x="168" y="288"/>
                    </a:lnTo>
                    <a:lnTo>
                      <a:pt x="232" y="280"/>
                    </a:lnTo>
                    <a:lnTo>
                      <a:pt x="264" y="296"/>
                    </a:lnTo>
                    <a:lnTo>
                      <a:pt x="264" y="304"/>
                    </a:lnTo>
                    <a:lnTo>
                      <a:pt x="272" y="304"/>
                    </a:lnTo>
                    <a:lnTo>
                      <a:pt x="288" y="336"/>
                    </a:lnTo>
                    <a:lnTo>
                      <a:pt x="312" y="296"/>
                    </a:lnTo>
                    <a:lnTo>
                      <a:pt x="312" y="312"/>
                    </a:lnTo>
                    <a:lnTo>
                      <a:pt x="304" y="336"/>
                    </a:lnTo>
                    <a:lnTo>
                      <a:pt x="312" y="336"/>
                    </a:lnTo>
                    <a:lnTo>
                      <a:pt x="312" y="320"/>
                    </a:lnTo>
                    <a:lnTo>
                      <a:pt x="320" y="336"/>
                    </a:lnTo>
                    <a:lnTo>
                      <a:pt x="312" y="344"/>
                    </a:lnTo>
                    <a:lnTo>
                      <a:pt x="328" y="344"/>
                    </a:lnTo>
                    <a:lnTo>
                      <a:pt x="336" y="360"/>
                    </a:lnTo>
                    <a:lnTo>
                      <a:pt x="336" y="368"/>
                    </a:lnTo>
                    <a:lnTo>
                      <a:pt x="344" y="376"/>
                    </a:lnTo>
                    <a:lnTo>
                      <a:pt x="360" y="384"/>
                    </a:lnTo>
                    <a:lnTo>
                      <a:pt x="376" y="384"/>
                    </a:lnTo>
                    <a:lnTo>
                      <a:pt x="384" y="392"/>
                    </a:lnTo>
                    <a:lnTo>
                      <a:pt x="400" y="376"/>
                    </a:lnTo>
                    <a:lnTo>
                      <a:pt x="400" y="384"/>
                    </a:lnTo>
                    <a:lnTo>
                      <a:pt x="408" y="384"/>
                    </a:lnTo>
                    <a:lnTo>
                      <a:pt x="408" y="392"/>
                    </a:lnTo>
                    <a:lnTo>
                      <a:pt x="424" y="400"/>
                    </a:lnTo>
                    <a:lnTo>
                      <a:pt x="440" y="376"/>
                    </a:lnTo>
                    <a:lnTo>
                      <a:pt x="464" y="376"/>
                    </a:lnTo>
                    <a:lnTo>
                      <a:pt x="472" y="344"/>
                    </a:lnTo>
                    <a:lnTo>
                      <a:pt x="504" y="272"/>
                    </a:lnTo>
                    <a:lnTo>
                      <a:pt x="512" y="240"/>
                    </a:lnTo>
                    <a:lnTo>
                      <a:pt x="504" y="200"/>
                    </a:lnTo>
                    <a:lnTo>
                      <a:pt x="488" y="176"/>
                    </a:lnTo>
                    <a:lnTo>
                      <a:pt x="480" y="168"/>
                    </a:lnTo>
                    <a:lnTo>
                      <a:pt x="472" y="152"/>
                    </a:lnTo>
                    <a:lnTo>
                      <a:pt x="464" y="144"/>
                    </a:lnTo>
                    <a:lnTo>
                      <a:pt x="464" y="152"/>
                    </a:lnTo>
                    <a:lnTo>
                      <a:pt x="448" y="128"/>
                    </a:lnTo>
                    <a:lnTo>
                      <a:pt x="424" y="104"/>
                    </a:lnTo>
                    <a:lnTo>
                      <a:pt x="416" y="80"/>
                    </a:lnTo>
                    <a:lnTo>
                      <a:pt x="408" y="72"/>
                    </a:lnTo>
                    <a:lnTo>
                      <a:pt x="408" y="56"/>
                    </a:lnTo>
                    <a:lnTo>
                      <a:pt x="400" y="48"/>
                    </a:lnTo>
                    <a:lnTo>
                      <a:pt x="384" y="48"/>
                    </a:lnTo>
                    <a:lnTo>
                      <a:pt x="376" y="0"/>
                    </a:lnTo>
                    <a:lnTo>
                      <a:pt x="368" y="0"/>
                    </a:lnTo>
                    <a:lnTo>
                      <a:pt x="360" y="16"/>
                    </a:lnTo>
                    <a:lnTo>
                      <a:pt x="360" y="56"/>
                    </a:lnTo>
                    <a:lnTo>
                      <a:pt x="352" y="88"/>
                    </a:lnTo>
                    <a:lnTo>
                      <a:pt x="336" y="88"/>
                    </a:lnTo>
                    <a:lnTo>
                      <a:pt x="304" y="64"/>
                    </a:lnTo>
                    <a:lnTo>
                      <a:pt x="296" y="64"/>
                    </a:lnTo>
                    <a:lnTo>
                      <a:pt x="296" y="56"/>
                    </a:lnTo>
                    <a:lnTo>
                      <a:pt x="280" y="56"/>
                    </a:lnTo>
                    <a:lnTo>
                      <a:pt x="288" y="32"/>
                    </a:lnTo>
                    <a:lnTo>
                      <a:pt x="296" y="32"/>
                    </a:lnTo>
                    <a:lnTo>
                      <a:pt x="304" y="16"/>
                    </a:lnTo>
                    <a:lnTo>
                      <a:pt x="296" y="16"/>
                    </a:lnTo>
                    <a:lnTo>
                      <a:pt x="288" y="24"/>
                    </a:lnTo>
                    <a:lnTo>
                      <a:pt x="288" y="16"/>
                    </a:lnTo>
                    <a:lnTo>
                      <a:pt x="280" y="16"/>
                    </a:lnTo>
                    <a:lnTo>
                      <a:pt x="240" y="8"/>
                    </a:lnTo>
                    <a:lnTo>
                      <a:pt x="248" y="16"/>
                    </a:lnTo>
                    <a:lnTo>
                      <a:pt x="240" y="16"/>
                    </a:lnTo>
                    <a:lnTo>
                      <a:pt x="224" y="16"/>
                    </a:lnTo>
                    <a:lnTo>
                      <a:pt x="216" y="24"/>
                    </a:lnTo>
                    <a:lnTo>
                      <a:pt x="216" y="32"/>
                    </a:lnTo>
                    <a:lnTo>
                      <a:pt x="208" y="32"/>
                    </a:lnTo>
                    <a:lnTo>
                      <a:pt x="208" y="48"/>
                    </a:lnTo>
                    <a:lnTo>
                      <a:pt x="208" y="56"/>
                    </a:lnTo>
                    <a:lnTo>
                      <a:pt x="192" y="48"/>
                    </a:lnTo>
                    <a:lnTo>
                      <a:pt x="192" y="56"/>
                    </a:lnTo>
                    <a:lnTo>
                      <a:pt x="192" y="48"/>
                    </a:lnTo>
                    <a:lnTo>
                      <a:pt x="184" y="40"/>
                    </a:lnTo>
                    <a:lnTo>
                      <a:pt x="176" y="40"/>
                    </a:lnTo>
                    <a:lnTo>
                      <a:pt x="160" y="48"/>
                    </a:lnTo>
                    <a:lnTo>
                      <a:pt x="152" y="48"/>
                    </a:lnTo>
                    <a:lnTo>
                      <a:pt x="144" y="72"/>
                    </a:lnTo>
                    <a:lnTo>
                      <a:pt x="136" y="72"/>
                    </a:lnTo>
                    <a:lnTo>
                      <a:pt x="128" y="72"/>
                    </a:lnTo>
                    <a:lnTo>
                      <a:pt x="136" y="80"/>
                    </a:lnTo>
                    <a:lnTo>
                      <a:pt x="128" y="88"/>
                    </a:lnTo>
                    <a:lnTo>
                      <a:pt x="128" y="72"/>
                    </a:lnTo>
                    <a:lnTo>
                      <a:pt x="112" y="88"/>
                    </a:lnTo>
                    <a:lnTo>
                      <a:pt x="120" y="96"/>
                    </a:lnTo>
                    <a:lnTo>
                      <a:pt x="96" y="112"/>
                    </a:lnTo>
                    <a:lnTo>
                      <a:pt x="40" y="128"/>
                    </a:lnTo>
                    <a:lnTo>
                      <a:pt x="16" y="152"/>
                    </a:lnTo>
                    <a:lnTo>
                      <a:pt x="8" y="144"/>
                    </a:lnTo>
                    <a:lnTo>
                      <a:pt x="8" y="152"/>
                    </a:lnTo>
                    <a:lnTo>
                      <a:pt x="8" y="168"/>
                    </a:lnTo>
                    <a:lnTo>
                      <a:pt x="0" y="168"/>
                    </a:lnTo>
                    <a:lnTo>
                      <a:pt x="16" y="208"/>
                    </a:lnTo>
                    <a:lnTo>
                      <a:pt x="8" y="192"/>
                    </a:lnTo>
                    <a:lnTo>
                      <a:pt x="8" y="208"/>
                    </a:lnTo>
                    <a:lnTo>
                      <a:pt x="0" y="200"/>
                    </a:lnTo>
                    <a:lnTo>
                      <a:pt x="24" y="248"/>
                    </a:lnTo>
                    <a:lnTo>
                      <a:pt x="32" y="280"/>
                    </a:lnTo>
                    <a:lnTo>
                      <a:pt x="32" y="304"/>
                    </a:lnTo>
                    <a:lnTo>
                      <a:pt x="24" y="312"/>
                    </a:lnTo>
                    <a:lnTo>
                      <a:pt x="24" y="320"/>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86" name="Freeform 424">
                <a:extLst>
                  <a:ext uri="{FF2B5EF4-FFF2-40B4-BE49-F238E27FC236}">
                    <a16:creationId xmlns:a16="http://schemas.microsoft.com/office/drawing/2014/main" id="{E144BCC1-E9EB-4336-8052-6D2CEC768650}"/>
                  </a:ext>
                </a:extLst>
              </p:cNvPr>
              <p:cNvSpPr>
                <a:spLocks/>
              </p:cNvSpPr>
              <p:nvPr/>
            </p:nvSpPr>
            <p:spPr bwMode="auto">
              <a:xfrm>
                <a:off x="2485135" y="3611698"/>
                <a:ext cx="1274912" cy="1052735"/>
              </a:xfrm>
              <a:custGeom>
                <a:avLst/>
                <a:gdLst>
                  <a:gd name="T0" fmla="*/ 86505 w 513"/>
                  <a:gd name="T1" fmla="*/ 605258 h 401"/>
                  <a:gd name="T2" fmla="*/ 158592 w 513"/>
                  <a:gd name="T3" fmla="*/ 562026 h 401"/>
                  <a:gd name="T4" fmla="*/ 245096 w 513"/>
                  <a:gd name="T5" fmla="*/ 547615 h 401"/>
                  <a:gd name="T6" fmla="*/ 418106 w 513"/>
                  <a:gd name="T7" fmla="*/ 504382 h 401"/>
                  <a:gd name="T8" fmla="*/ 475775 w 513"/>
                  <a:gd name="T9" fmla="*/ 547615 h 401"/>
                  <a:gd name="T10" fmla="*/ 519028 w 513"/>
                  <a:gd name="T11" fmla="*/ 605258 h 401"/>
                  <a:gd name="T12" fmla="*/ 562280 w 513"/>
                  <a:gd name="T13" fmla="*/ 562026 h 401"/>
                  <a:gd name="T14" fmla="*/ 562280 w 513"/>
                  <a:gd name="T15" fmla="*/ 605258 h 401"/>
                  <a:gd name="T16" fmla="*/ 576697 w 513"/>
                  <a:gd name="T17" fmla="*/ 605258 h 401"/>
                  <a:gd name="T18" fmla="*/ 591115 w 513"/>
                  <a:gd name="T19" fmla="*/ 619669 h 401"/>
                  <a:gd name="T20" fmla="*/ 605532 w 513"/>
                  <a:gd name="T21" fmla="*/ 662902 h 401"/>
                  <a:gd name="T22" fmla="*/ 648784 w 513"/>
                  <a:gd name="T23" fmla="*/ 691724 h 401"/>
                  <a:gd name="T24" fmla="*/ 692037 w 513"/>
                  <a:gd name="T25" fmla="*/ 706135 h 401"/>
                  <a:gd name="T26" fmla="*/ 720872 w 513"/>
                  <a:gd name="T27" fmla="*/ 691724 h 401"/>
                  <a:gd name="T28" fmla="*/ 735289 w 513"/>
                  <a:gd name="T29" fmla="*/ 706135 h 401"/>
                  <a:gd name="T30" fmla="*/ 792959 w 513"/>
                  <a:gd name="T31" fmla="*/ 677313 h 401"/>
                  <a:gd name="T32" fmla="*/ 850628 w 513"/>
                  <a:gd name="T33" fmla="*/ 619669 h 401"/>
                  <a:gd name="T34" fmla="*/ 922716 w 513"/>
                  <a:gd name="T35" fmla="*/ 432327 h 401"/>
                  <a:gd name="T36" fmla="*/ 879463 w 513"/>
                  <a:gd name="T37" fmla="*/ 317040 h 401"/>
                  <a:gd name="T38" fmla="*/ 850628 w 513"/>
                  <a:gd name="T39" fmla="*/ 273807 h 401"/>
                  <a:gd name="T40" fmla="*/ 836211 w 513"/>
                  <a:gd name="T41" fmla="*/ 273807 h 401"/>
                  <a:gd name="T42" fmla="*/ 764124 w 513"/>
                  <a:gd name="T43" fmla="*/ 187342 h 401"/>
                  <a:gd name="T44" fmla="*/ 735289 w 513"/>
                  <a:gd name="T45" fmla="*/ 129698 h 401"/>
                  <a:gd name="T46" fmla="*/ 720872 w 513"/>
                  <a:gd name="T47" fmla="*/ 86465 h 401"/>
                  <a:gd name="T48" fmla="*/ 677619 w 513"/>
                  <a:gd name="T49" fmla="*/ 0 h 401"/>
                  <a:gd name="T50" fmla="*/ 648784 w 513"/>
                  <a:gd name="T51" fmla="*/ 28822 h 401"/>
                  <a:gd name="T52" fmla="*/ 634367 w 513"/>
                  <a:gd name="T53" fmla="*/ 158520 h 401"/>
                  <a:gd name="T54" fmla="*/ 547862 w 513"/>
                  <a:gd name="T55" fmla="*/ 115287 h 401"/>
                  <a:gd name="T56" fmla="*/ 533445 w 513"/>
                  <a:gd name="T57" fmla="*/ 100876 h 401"/>
                  <a:gd name="T58" fmla="*/ 519028 w 513"/>
                  <a:gd name="T59" fmla="*/ 57644 h 401"/>
                  <a:gd name="T60" fmla="*/ 547862 w 513"/>
                  <a:gd name="T61" fmla="*/ 28822 h 401"/>
                  <a:gd name="T62" fmla="*/ 519028 w 513"/>
                  <a:gd name="T63" fmla="*/ 43233 h 401"/>
                  <a:gd name="T64" fmla="*/ 504610 w 513"/>
                  <a:gd name="T65" fmla="*/ 28822 h 401"/>
                  <a:gd name="T66" fmla="*/ 446940 w 513"/>
                  <a:gd name="T67" fmla="*/ 28822 h 401"/>
                  <a:gd name="T68" fmla="*/ 403688 w 513"/>
                  <a:gd name="T69" fmla="*/ 28822 h 401"/>
                  <a:gd name="T70" fmla="*/ 389271 w 513"/>
                  <a:gd name="T71" fmla="*/ 57644 h 401"/>
                  <a:gd name="T72" fmla="*/ 374853 w 513"/>
                  <a:gd name="T73" fmla="*/ 86465 h 401"/>
                  <a:gd name="T74" fmla="*/ 346018 w 513"/>
                  <a:gd name="T75" fmla="*/ 86465 h 401"/>
                  <a:gd name="T76" fmla="*/ 346018 w 513"/>
                  <a:gd name="T77" fmla="*/ 86465 h 401"/>
                  <a:gd name="T78" fmla="*/ 317184 w 513"/>
                  <a:gd name="T79" fmla="*/ 72055 h 401"/>
                  <a:gd name="T80" fmla="*/ 273931 w 513"/>
                  <a:gd name="T81" fmla="*/ 86465 h 401"/>
                  <a:gd name="T82" fmla="*/ 245096 w 513"/>
                  <a:gd name="T83" fmla="*/ 129698 h 401"/>
                  <a:gd name="T84" fmla="*/ 245096 w 513"/>
                  <a:gd name="T85" fmla="*/ 144109 h 401"/>
                  <a:gd name="T86" fmla="*/ 230679 w 513"/>
                  <a:gd name="T87" fmla="*/ 129698 h 401"/>
                  <a:gd name="T88" fmla="*/ 216261 w 513"/>
                  <a:gd name="T89" fmla="*/ 172931 h 401"/>
                  <a:gd name="T90" fmla="*/ 72087 w 513"/>
                  <a:gd name="T91" fmla="*/ 230575 h 401"/>
                  <a:gd name="T92" fmla="*/ 14417 w 513"/>
                  <a:gd name="T93" fmla="*/ 259396 h 401"/>
                  <a:gd name="T94" fmla="*/ 14417 w 513"/>
                  <a:gd name="T95" fmla="*/ 302629 h 401"/>
                  <a:gd name="T96" fmla="*/ 28835 w 513"/>
                  <a:gd name="T97" fmla="*/ 374684 h 401"/>
                  <a:gd name="T98" fmla="*/ 14417 w 513"/>
                  <a:gd name="T99" fmla="*/ 374684 h 401"/>
                  <a:gd name="T100" fmla="*/ 43252 w 513"/>
                  <a:gd name="T101" fmla="*/ 446738 h 401"/>
                  <a:gd name="T102" fmla="*/ 57670 w 513"/>
                  <a:gd name="T103" fmla="*/ 547615 h 401"/>
                  <a:gd name="T104" fmla="*/ 43252 w 513"/>
                  <a:gd name="T105" fmla="*/ 576437 h 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13"/>
                  <a:gd name="T160" fmla="*/ 0 h 401"/>
                  <a:gd name="T161" fmla="*/ 513 w 513"/>
                  <a:gd name="T162" fmla="*/ 401 h 4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13" h="401">
                    <a:moveTo>
                      <a:pt x="24" y="320"/>
                    </a:moveTo>
                    <a:lnTo>
                      <a:pt x="48" y="336"/>
                    </a:lnTo>
                    <a:lnTo>
                      <a:pt x="64" y="336"/>
                    </a:lnTo>
                    <a:lnTo>
                      <a:pt x="88" y="312"/>
                    </a:lnTo>
                    <a:lnTo>
                      <a:pt x="128" y="312"/>
                    </a:lnTo>
                    <a:lnTo>
                      <a:pt x="136" y="304"/>
                    </a:lnTo>
                    <a:lnTo>
                      <a:pt x="168" y="288"/>
                    </a:lnTo>
                    <a:lnTo>
                      <a:pt x="232" y="280"/>
                    </a:lnTo>
                    <a:lnTo>
                      <a:pt x="264" y="296"/>
                    </a:lnTo>
                    <a:lnTo>
                      <a:pt x="264" y="304"/>
                    </a:lnTo>
                    <a:lnTo>
                      <a:pt x="272" y="304"/>
                    </a:lnTo>
                    <a:lnTo>
                      <a:pt x="288" y="336"/>
                    </a:lnTo>
                    <a:lnTo>
                      <a:pt x="312" y="296"/>
                    </a:lnTo>
                    <a:lnTo>
                      <a:pt x="312" y="312"/>
                    </a:lnTo>
                    <a:lnTo>
                      <a:pt x="304" y="336"/>
                    </a:lnTo>
                    <a:lnTo>
                      <a:pt x="312" y="336"/>
                    </a:lnTo>
                    <a:lnTo>
                      <a:pt x="312" y="320"/>
                    </a:lnTo>
                    <a:lnTo>
                      <a:pt x="320" y="336"/>
                    </a:lnTo>
                    <a:lnTo>
                      <a:pt x="312" y="344"/>
                    </a:lnTo>
                    <a:lnTo>
                      <a:pt x="328" y="344"/>
                    </a:lnTo>
                    <a:lnTo>
                      <a:pt x="336" y="360"/>
                    </a:lnTo>
                    <a:lnTo>
                      <a:pt x="336" y="368"/>
                    </a:lnTo>
                    <a:lnTo>
                      <a:pt x="344" y="376"/>
                    </a:lnTo>
                    <a:lnTo>
                      <a:pt x="360" y="384"/>
                    </a:lnTo>
                    <a:lnTo>
                      <a:pt x="376" y="384"/>
                    </a:lnTo>
                    <a:lnTo>
                      <a:pt x="384" y="392"/>
                    </a:lnTo>
                    <a:lnTo>
                      <a:pt x="400" y="376"/>
                    </a:lnTo>
                    <a:lnTo>
                      <a:pt x="400" y="384"/>
                    </a:lnTo>
                    <a:lnTo>
                      <a:pt x="408" y="384"/>
                    </a:lnTo>
                    <a:lnTo>
                      <a:pt x="408" y="392"/>
                    </a:lnTo>
                    <a:lnTo>
                      <a:pt x="424" y="400"/>
                    </a:lnTo>
                    <a:lnTo>
                      <a:pt x="440" y="376"/>
                    </a:lnTo>
                    <a:lnTo>
                      <a:pt x="464" y="376"/>
                    </a:lnTo>
                    <a:lnTo>
                      <a:pt x="472" y="344"/>
                    </a:lnTo>
                    <a:lnTo>
                      <a:pt x="504" y="272"/>
                    </a:lnTo>
                    <a:lnTo>
                      <a:pt x="512" y="240"/>
                    </a:lnTo>
                    <a:lnTo>
                      <a:pt x="504" y="200"/>
                    </a:lnTo>
                    <a:lnTo>
                      <a:pt x="488" y="176"/>
                    </a:lnTo>
                    <a:lnTo>
                      <a:pt x="480" y="168"/>
                    </a:lnTo>
                    <a:lnTo>
                      <a:pt x="472" y="152"/>
                    </a:lnTo>
                    <a:lnTo>
                      <a:pt x="464" y="144"/>
                    </a:lnTo>
                    <a:lnTo>
                      <a:pt x="464" y="152"/>
                    </a:lnTo>
                    <a:lnTo>
                      <a:pt x="448" y="128"/>
                    </a:lnTo>
                    <a:lnTo>
                      <a:pt x="424" y="104"/>
                    </a:lnTo>
                    <a:lnTo>
                      <a:pt x="416" y="80"/>
                    </a:lnTo>
                    <a:lnTo>
                      <a:pt x="408" y="72"/>
                    </a:lnTo>
                    <a:lnTo>
                      <a:pt x="408" y="56"/>
                    </a:lnTo>
                    <a:lnTo>
                      <a:pt x="400" y="48"/>
                    </a:lnTo>
                    <a:lnTo>
                      <a:pt x="384" y="48"/>
                    </a:lnTo>
                    <a:lnTo>
                      <a:pt x="376" y="0"/>
                    </a:lnTo>
                    <a:lnTo>
                      <a:pt x="368" y="0"/>
                    </a:lnTo>
                    <a:lnTo>
                      <a:pt x="360" y="16"/>
                    </a:lnTo>
                    <a:lnTo>
                      <a:pt x="360" y="56"/>
                    </a:lnTo>
                    <a:lnTo>
                      <a:pt x="352" y="88"/>
                    </a:lnTo>
                    <a:lnTo>
                      <a:pt x="336" y="88"/>
                    </a:lnTo>
                    <a:lnTo>
                      <a:pt x="304" y="64"/>
                    </a:lnTo>
                    <a:lnTo>
                      <a:pt x="296" y="64"/>
                    </a:lnTo>
                    <a:lnTo>
                      <a:pt x="296" y="56"/>
                    </a:lnTo>
                    <a:lnTo>
                      <a:pt x="280" y="56"/>
                    </a:lnTo>
                    <a:lnTo>
                      <a:pt x="288" y="32"/>
                    </a:lnTo>
                    <a:lnTo>
                      <a:pt x="296" y="32"/>
                    </a:lnTo>
                    <a:lnTo>
                      <a:pt x="304" y="16"/>
                    </a:lnTo>
                    <a:lnTo>
                      <a:pt x="296" y="16"/>
                    </a:lnTo>
                    <a:lnTo>
                      <a:pt x="288" y="24"/>
                    </a:lnTo>
                    <a:lnTo>
                      <a:pt x="288" y="16"/>
                    </a:lnTo>
                    <a:lnTo>
                      <a:pt x="280" y="16"/>
                    </a:lnTo>
                    <a:lnTo>
                      <a:pt x="240" y="8"/>
                    </a:lnTo>
                    <a:lnTo>
                      <a:pt x="248" y="16"/>
                    </a:lnTo>
                    <a:lnTo>
                      <a:pt x="240" y="16"/>
                    </a:lnTo>
                    <a:lnTo>
                      <a:pt x="224" y="16"/>
                    </a:lnTo>
                    <a:lnTo>
                      <a:pt x="216" y="24"/>
                    </a:lnTo>
                    <a:lnTo>
                      <a:pt x="216" y="32"/>
                    </a:lnTo>
                    <a:lnTo>
                      <a:pt x="208" y="32"/>
                    </a:lnTo>
                    <a:lnTo>
                      <a:pt x="208" y="48"/>
                    </a:lnTo>
                    <a:lnTo>
                      <a:pt x="208" y="56"/>
                    </a:lnTo>
                    <a:lnTo>
                      <a:pt x="192" y="48"/>
                    </a:lnTo>
                    <a:lnTo>
                      <a:pt x="192" y="56"/>
                    </a:lnTo>
                    <a:lnTo>
                      <a:pt x="192" y="48"/>
                    </a:lnTo>
                    <a:lnTo>
                      <a:pt x="184" y="40"/>
                    </a:lnTo>
                    <a:lnTo>
                      <a:pt x="176" y="40"/>
                    </a:lnTo>
                    <a:lnTo>
                      <a:pt x="160" y="48"/>
                    </a:lnTo>
                    <a:lnTo>
                      <a:pt x="152" y="48"/>
                    </a:lnTo>
                    <a:lnTo>
                      <a:pt x="144" y="72"/>
                    </a:lnTo>
                    <a:lnTo>
                      <a:pt x="136" y="72"/>
                    </a:lnTo>
                    <a:lnTo>
                      <a:pt x="128" y="72"/>
                    </a:lnTo>
                    <a:lnTo>
                      <a:pt x="136" y="80"/>
                    </a:lnTo>
                    <a:lnTo>
                      <a:pt x="128" y="88"/>
                    </a:lnTo>
                    <a:lnTo>
                      <a:pt x="128" y="72"/>
                    </a:lnTo>
                    <a:lnTo>
                      <a:pt x="112" y="88"/>
                    </a:lnTo>
                    <a:lnTo>
                      <a:pt x="120" y="96"/>
                    </a:lnTo>
                    <a:lnTo>
                      <a:pt x="96" y="112"/>
                    </a:lnTo>
                    <a:lnTo>
                      <a:pt x="40" y="128"/>
                    </a:lnTo>
                    <a:lnTo>
                      <a:pt x="16" y="152"/>
                    </a:lnTo>
                    <a:lnTo>
                      <a:pt x="8" y="144"/>
                    </a:lnTo>
                    <a:lnTo>
                      <a:pt x="8" y="152"/>
                    </a:lnTo>
                    <a:lnTo>
                      <a:pt x="8" y="168"/>
                    </a:lnTo>
                    <a:lnTo>
                      <a:pt x="0" y="168"/>
                    </a:lnTo>
                    <a:lnTo>
                      <a:pt x="16" y="208"/>
                    </a:lnTo>
                    <a:lnTo>
                      <a:pt x="8" y="192"/>
                    </a:lnTo>
                    <a:lnTo>
                      <a:pt x="8" y="208"/>
                    </a:lnTo>
                    <a:lnTo>
                      <a:pt x="0" y="200"/>
                    </a:lnTo>
                    <a:lnTo>
                      <a:pt x="24" y="248"/>
                    </a:lnTo>
                    <a:lnTo>
                      <a:pt x="32" y="280"/>
                    </a:lnTo>
                    <a:lnTo>
                      <a:pt x="32" y="304"/>
                    </a:lnTo>
                    <a:lnTo>
                      <a:pt x="24" y="312"/>
                    </a:lnTo>
                    <a:lnTo>
                      <a:pt x="24" y="320"/>
                    </a:lnTo>
                  </a:path>
                </a:pathLst>
              </a:custGeom>
              <a:no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87" name="Freeform 425">
                <a:extLst>
                  <a:ext uri="{FF2B5EF4-FFF2-40B4-BE49-F238E27FC236}">
                    <a16:creationId xmlns:a16="http://schemas.microsoft.com/office/drawing/2014/main" id="{30677FB2-31BE-4BBE-AF38-69A605FE3EF9}"/>
                  </a:ext>
                </a:extLst>
              </p:cNvPr>
              <p:cNvSpPr>
                <a:spLocks/>
              </p:cNvSpPr>
              <p:nvPr/>
            </p:nvSpPr>
            <p:spPr bwMode="auto">
              <a:xfrm>
                <a:off x="3021942" y="3632701"/>
                <a:ext cx="42248" cy="23627"/>
              </a:xfrm>
              <a:custGeom>
                <a:avLst/>
                <a:gdLst>
                  <a:gd name="T0" fmla="*/ 0 w 17"/>
                  <a:gd name="T1" fmla="*/ 14411 h 9"/>
                  <a:gd name="T2" fmla="*/ 0 w 17"/>
                  <a:gd name="T3" fmla="*/ 14411 h 9"/>
                  <a:gd name="T4" fmla="*/ 14417 w 17"/>
                  <a:gd name="T5" fmla="*/ 14411 h 9"/>
                  <a:gd name="T6" fmla="*/ 28835 w 17"/>
                  <a:gd name="T7" fmla="*/ 0 h 9"/>
                  <a:gd name="T8" fmla="*/ 0 w 17"/>
                  <a:gd name="T9" fmla="*/ 0 h 9"/>
                  <a:gd name="T10" fmla="*/ 0 w 17"/>
                  <a:gd name="T11" fmla="*/ 1441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0" y="8"/>
                    </a:moveTo>
                    <a:lnTo>
                      <a:pt x="0" y="8"/>
                    </a:lnTo>
                    <a:lnTo>
                      <a:pt x="8" y="8"/>
                    </a:lnTo>
                    <a:lnTo>
                      <a:pt x="16" y="0"/>
                    </a:lnTo>
                    <a:lnTo>
                      <a:pt x="0"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88" name="Freeform 426">
                <a:extLst>
                  <a:ext uri="{FF2B5EF4-FFF2-40B4-BE49-F238E27FC236}">
                    <a16:creationId xmlns:a16="http://schemas.microsoft.com/office/drawing/2014/main" id="{9DD12D10-719B-4B54-AF86-DCBF9CFB1CA7}"/>
                  </a:ext>
                </a:extLst>
              </p:cNvPr>
              <p:cNvSpPr>
                <a:spLocks/>
              </p:cNvSpPr>
              <p:nvPr/>
            </p:nvSpPr>
            <p:spPr bwMode="auto">
              <a:xfrm>
                <a:off x="3021942" y="3632701"/>
                <a:ext cx="42248" cy="23627"/>
              </a:xfrm>
              <a:custGeom>
                <a:avLst/>
                <a:gdLst>
                  <a:gd name="T0" fmla="*/ 0 w 17"/>
                  <a:gd name="T1" fmla="*/ 14411 h 9"/>
                  <a:gd name="T2" fmla="*/ 14417 w 17"/>
                  <a:gd name="T3" fmla="*/ 14411 h 9"/>
                  <a:gd name="T4" fmla="*/ 28835 w 17"/>
                  <a:gd name="T5" fmla="*/ 0 h 9"/>
                  <a:gd name="T6" fmla="*/ 0 w 17"/>
                  <a:gd name="T7" fmla="*/ 0 h 9"/>
                  <a:gd name="T8" fmla="*/ 0 w 17"/>
                  <a:gd name="T9" fmla="*/ 14411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0" y="8"/>
                    </a:moveTo>
                    <a:lnTo>
                      <a:pt x="8" y="8"/>
                    </a:lnTo>
                    <a:lnTo>
                      <a:pt x="16" y="0"/>
                    </a:lnTo>
                    <a:lnTo>
                      <a:pt x="0"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89" name="Freeform 427">
                <a:extLst>
                  <a:ext uri="{FF2B5EF4-FFF2-40B4-BE49-F238E27FC236}">
                    <a16:creationId xmlns:a16="http://schemas.microsoft.com/office/drawing/2014/main" id="{170E4485-E449-4386-A8F8-B523353812C0}"/>
                  </a:ext>
                </a:extLst>
              </p:cNvPr>
              <p:cNvSpPr>
                <a:spLocks/>
              </p:cNvSpPr>
              <p:nvPr/>
            </p:nvSpPr>
            <p:spPr bwMode="auto">
              <a:xfrm>
                <a:off x="3220757" y="4514791"/>
                <a:ext cx="42248" cy="23627"/>
              </a:xfrm>
              <a:custGeom>
                <a:avLst/>
                <a:gdLst>
                  <a:gd name="T0" fmla="*/ 0 w 17"/>
                  <a:gd name="T1" fmla="*/ 0 h 9"/>
                  <a:gd name="T2" fmla="*/ 0 w 17"/>
                  <a:gd name="T3" fmla="*/ 0 h 9"/>
                  <a:gd name="T4" fmla="*/ 28835 w 17"/>
                  <a:gd name="T5" fmla="*/ 14411 h 9"/>
                  <a:gd name="T6" fmla="*/ 28835 w 17"/>
                  <a:gd name="T7" fmla="*/ 0 h 9"/>
                  <a:gd name="T8" fmla="*/ 14417 w 17"/>
                  <a:gd name="T9" fmla="*/ 0 h 9"/>
                  <a:gd name="T10" fmla="*/ 0 w 17"/>
                  <a:gd name="T11" fmla="*/ 0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0" y="0"/>
                    </a:moveTo>
                    <a:lnTo>
                      <a:pt x="0" y="0"/>
                    </a:lnTo>
                    <a:lnTo>
                      <a:pt x="16" y="8"/>
                    </a:lnTo>
                    <a:lnTo>
                      <a:pt x="16" y="0"/>
                    </a:lnTo>
                    <a:lnTo>
                      <a:pt x="8" y="0"/>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0" name="Freeform 428">
                <a:extLst>
                  <a:ext uri="{FF2B5EF4-FFF2-40B4-BE49-F238E27FC236}">
                    <a16:creationId xmlns:a16="http://schemas.microsoft.com/office/drawing/2014/main" id="{19FAB631-07B0-4A25-8FC1-51D42C93BEDE}"/>
                  </a:ext>
                </a:extLst>
              </p:cNvPr>
              <p:cNvSpPr>
                <a:spLocks/>
              </p:cNvSpPr>
              <p:nvPr/>
            </p:nvSpPr>
            <p:spPr bwMode="auto">
              <a:xfrm>
                <a:off x="3220757" y="4514791"/>
                <a:ext cx="42248" cy="23627"/>
              </a:xfrm>
              <a:custGeom>
                <a:avLst/>
                <a:gdLst>
                  <a:gd name="T0" fmla="*/ 0 w 17"/>
                  <a:gd name="T1" fmla="*/ 0 h 9"/>
                  <a:gd name="T2" fmla="*/ 28835 w 17"/>
                  <a:gd name="T3" fmla="*/ 14411 h 9"/>
                  <a:gd name="T4" fmla="*/ 28835 w 17"/>
                  <a:gd name="T5" fmla="*/ 0 h 9"/>
                  <a:gd name="T6" fmla="*/ 14417 w 17"/>
                  <a:gd name="T7" fmla="*/ 0 h 9"/>
                  <a:gd name="T8" fmla="*/ 0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0" y="0"/>
                    </a:moveTo>
                    <a:lnTo>
                      <a:pt x="16" y="8"/>
                    </a:lnTo>
                    <a:lnTo>
                      <a:pt x="16" y="0"/>
                    </a:lnTo>
                    <a:lnTo>
                      <a:pt x="8" y="0"/>
                    </a:lnTo>
                    <a:lnTo>
                      <a:pt x="0" y="0"/>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1" name="Freeform 429">
                <a:extLst>
                  <a:ext uri="{FF2B5EF4-FFF2-40B4-BE49-F238E27FC236}">
                    <a16:creationId xmlns:a16="http://schemas.microsoft.com/office/drawing/2014/main" id="{CA33CDB7-8C1E-4C9E-B450-FEEDB2220380}"/>
                  </a:ext>
                </a:extLst>
              </p:cNvPr>
              <p:cNvSpPr>
                <a:spLocks/>
              </p:cNvSpPr>
              <p:nvPr/>
            </p:nvSpPr>
            <p:spPr bwMode="auto">
              <a:xfrm>
                <a:off x="3479219" y="4724813"/>
                <a:ext cx="121776" cy="128638"/>
              </a:xfrm>
              <a:custGeom>
                <a:avLst/>
                <a:gdLst>
                  <a:gd name="T0" fmla="*/ 0 w 49"/>
                  <a:gd name="T1" fmla="*/ 0 h 49"/>
                  <a:gd name="T2" fmla="*/ 0 w 49"/>
                  <a:gd name="T3" fmla="*/ 0 h 49"/>
                  <a:gd name="T4" fmla="*/ 14417 w 49"/>
                  <a:gd name="T5" fmla="*/ 72055 h 49"/>
                  <a:gd name="T6" fmla="*/ 43252 w 49"/>
                  <a:gd name="T7" fmla="*/ 86466 h 49"/>
                  <a:gd name="T8" fmla="*/ 57670 w 49"/>
                  <a:gd name="T9" fmla="*/ 57644 h 49"/>
                  <a:gd name="T10" fmla="*/ 72087 w 49"/>
                  <a:gd name="T11" fmla="*/ 72055 h 49"/>
                  <a:gd name="T12" fmla="*/ 86505 w 49"/>
                  <a:gd name="T13" fmla="*/ 0 h 49"/>
                  <a:gd name="T14" fmla="*/ 72087 w 49"/>
                  <a:gd name="T15" fmla="*/ 0 h 49"/>
                  <a:gd name="T16" fmla="*/ 28835 w 49"/>
                  <a:gd name="T17" fmla="*/ 14411 h 49"/>
                  <a:gd name="T18" fmla="*/ 0 w 49"/>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9"/>
                  <a:gd name="T32" fmla="*/ 49 w 49"/>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9">
                    <a:moveTo>
                      <a:pt x="0" y="0"/>
                    </a:moveTo>
                    <a:lnTo>
                      <a:pt x="0" y="0"/>
                    </a:lnTo>
                    <a:lnTo>
                      <a:pt x="8" y="40"/>
                    </a:lnTo>
                    <a:lnTo>
                      <a:pt x="24" y="48"/>
                    </a:lnTo>
                    <a:lnTo>
                      <a:pt x="32" y="32"/>
                    </a:lnTo>
                    <a:lnTo>
                      <a:pt x="40" y="40"/>
                    </a:lnTo>
                    <a:lnTo>
                      <a:pt x="48" y="0"/>
                    </a:lnTo>
                    <a:lnTo>
                      <a:pt x="40" y="0"/>
                    </a:lnTo>
                    <a:lnTo>
                      <a:pt x="16" y="8"/>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2" name="Freeform 430">
                <a:extLst>
                  <a:ext uri="{FF2B5EF4-FFF2-40B4-BE49-F238E27FC236}">
                    <a16:creationId xmlns:a16="http://schemas.microsoft.com/office/drawing/2014/main" id="{74FD1F3D-30D4-413D-AB43-F62ED4E7AFE8}"/>
                  </a:ext>
                </a:extLst>
              </p:cNvPr>
              <p:cNvSpPr>
                <a:spLocks/>
              </p:cNvSpPr>
              <p:nvPr/>
            </p:nvSpPr>
            <p:spPr bwMode="auto">
              <a:xfrm>
                <a:off x="3479219" y="4724813"/>
                <a:ext cx="121776" cy="128638"/>
              </a:xfrm>
              <a:custGeom>
                <a:avLst/>
                <a:gdLst>
                  <a:gd name="T0" fmla="*/ 0 w 49"/>
                  <a:gd name="T1" fmla="*/ 0 h 49"/>
                  <a:gd name="T2" fmla="*/ 14417 w 49"/>
                  <a:gd name="T3" fmla="*/ 72055 h 49"/>
                  <a:gd name="T4" fmla="*/ 43252 w 49"/>
                  <a:gd name="T5" fmla="*/ 86466 h 49"/>
                  <a:gd name="T6" fmla="*/ 57670 w 49"/>
                  <a:gd name="T7" fmla="*/ 57644 h 49"/>
                  <a:gd name="T8" fmla="*/ 72087 w 49"/>
                  <a:gd name="T9" fmla="*/ 72055 h 49"/>
                  <a:gd name="T10" fmla="*/ 86505 w 49"/>
                  <a:gd name="T11" fmla="*/ 0 h 49"/>
                  <a:gd name="T12" fmla="*/ 72087 w 49"/>
                  <a:gd name="T13" fmla="*/ 0 h 49"/>
                  <a:gd name="T14" fmla="*/ 28835 w 49"/>
                  <a:gd name="T15" fmla="*/ 14411 h 49"/>
                  <a:gd name="T16" fmla="*/ 0 w 49"/>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49"/>
                  <a:gd name="T29" fmla="*/ 49 w 49"/>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49">
                    <a:moveTo>
                      <a:pt x="0" y="0"/>
                    </a:moveTo>
                    <a:lnTo>
                      <a:pt x="8" y="40"/>
                    </a:lnTo>
                    <a:lnTo>
                      <a:pt x="24" y="48"/>
                    </a:lnTo>
                    <a:lnTo>
                      <a:pt x="32" y="32"/>
                    </a:lnTo>
                    <a:lnTo>
                      <a:pt x="40" y="40"/>
                    </a:lnTo>
                    <a:lnTo>
                      <a:pt x="48" y="0"/>
                    </a:lnTo>
                    <a:lnTo>
                      <a:pt x="40" y="0"/>
                    </a:lnTo>
                    <a:lnTo>
                      <a:pt x="16" y="8"/>
                    </a:lnTo>
                    <a:lnTo>
                      <a:pt x="0" y="0"/>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3" name="Freeform 437">
                <a:extLst>
                  <a:ext uri="{FF2B5EF4-FFF2-40B4-BE49-F238E27FC236}">
                    <a16:creationId xmlns:a16="http://schemas.microsoft.com/office/drawing/2014/main" id="{11E845AF-DF7E-4CCB-B0CA-8388D95C5E83}"/>
                  </a:ext>
                </a:extLst>
              </p:cNvPr>
              <p:cNvSpPr>
                <a:spLocks/>
              </p:cNvSpPr>
              <p:nvPr/>
            </p:nvSpPr>
            <p:spPr bwMode="auto">
              <a:xfrm>
                <a:off x="1928448" y="3065641"/>
                <a:ext cx="340473" cy="380665"/>
              </a:xfrm>
              <a:custGeom>
                <a:avLst/>
                <a:gdLst>
                  <a:gd name="T0" fmla="*/ 0 w 137"/>
                  <a:gd name="T1" fmla="*/ 0 h 145"/>
                  <a:gd name="T2" fmla="*/ 0 w 137"/>
                  <a:gd name="T3" fmla="*/ 0 h 145"/>
                  <a:gd name="T4" fmla="*/ 0 w 137"/>
                  <a:gd name="T5" fmla="*/ 14411 h 145"/>
                  <a:gd name="T6" fmla="*/ 28835 w 137"/>
                  <a:gd name="T7" fmla="*/ 43233 h 145"/>
                  <a:gd name="T8" fmla="*/ 57670 w 137"/>
                  <a:gd name="T9" fmla="*/ 72055 h 145"/>
                  <a:gd name="T10" fmla="*/ 72087 w 137"/>
                  <a:gd name="T11" fmla="*/ 86466 h 145"/>
                  <a:gd name="T12" fmla="*/ 86504 w 137"/>
                  <a:gd name="T13" fmla="*/ 115287 h 145"/>
                  <a:gd name="T14" fmla="*/ 115339 w 137"/>
                  <a:gd name="T15" fmla="*/ 144109 h 145"/>
                  <a:gd name="T16" fmla="*/ 144174 w 137"/>
                  <a:gd name="T17" fmla="*/ 201753 h 145"/>
                  <a:gd name="T18" fmla="*/ 201844 w 137"/>
                  <a:gd name="T19" fmla="*/ 259397 h 145"/>
                  <a:gd name="T20" fmla="*/ 230678 w 137"/>
                  <a:gd name="T21" fmla="*/ 259397 h 145"/>
                  <a:gd name="T22" fmla="*/ 245096 w 137"/>
                  <a:gd name="T23" fmla="*/ 201753 h 145"/>
                  <a:gd name="T24" fmla="*/ 230678 w 137"/>
                  <a:gd name="T25" fmla="*/ 172931 h 145"/>
                  <a:gd name="T26" fmla="*/ 216261 w 137"/>
                  <a:gd name="T27" fmla="*/ 172931 h 145"/>
                  <a:gd name="T28" fmla="*/ 201844 w 137"/>
                  <a:gd name="T29" fmla="*/ 144109 h 145"/>
                  <a:gd name="T30" fmla="*/ 187426 w 137"/>
                  <a:gd name="T31" fmla="*/ 144109 h 145"/>
                  <a:gd name="T32" fmla="*/ 187426 w 137"/>
                  <a:gd name="T33" fmla="*/ 129698 h 145"/>
                  <a:gd name="T34" fmla="*/ 173009 w 137"/>
                  <a:gd name="T35" fmla="*/ 115287 h 145"/>
                  <a:gd name="T36" fmla="*/ 173009 w 137"/>
                  <a:gd name="T37" fmla="*/ 100876 h 145"/>
                  <a:gd name="T38" fmla="*/ 129757 w 137"/>
                  <a:gd name="T39" fmla="*/ 72055 h 145"/>
                  <a:gd name="T40" fmla="*/ 115339 w 137"/>
                  <a:gd name="T41" fmla="*/ 72055 h 145"/>
                  <a:gd name="T42" fmla="*/ 43252 w 137"/>
                  <a:gd name="T43" fmla="*/ 14411 h 145"/>
                  <a:gd name="T44" fmla="*/ 0 w 137"/>
                  <a:gd name="T45" fmla="*/ 0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7"/>
                  <a:gd name="T70" fmla="*/ 0 h 145"/>
                  <a:gd name="T71" fmla="*/ 137 w 137"/>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7" h="145">
                    <a:moveTo>
                      <a:pt x="0" y="0"/>
                    </a:moveTo>
                    <a:lnTo>
                      <a:pt x="0" y="0"/>
                    </a:lnTo>
                    <a:lnTo>
                      <a:pt x="0" y="8"/>
                    </a:lnTo>
                    <a:lnTo>
                      <a:pt x="16" y="24"/>
                    </a:lnTo>
                    <a:lnTo>
                      <a:pt x="32" y="40"/>
                    </a:lnTo>
                    <a:lnTo>
                      <a:pt x="40" y="48"/>
                    </a:lnTo>
                    <a:lnTo>
                      <a:pt x="48" y="64"/>
                    </a:lnTo>
                    <a:lnTo>
                      <a:pt x="64" y="80"/>
                    </a:lnTo>
                    <a:lnTo>
                      <a:pt x="80" y="112"/>
                    </a:lnTo>
                    <a:lnTo>
                      <a:pt x="112" y="144"/>
                    </a:lnTo>
                    <a:lnTo>
                      <a:pt x="128" y="144"/>
                    </a:lnTo>
                    <a:lnTo>
                      <a:pt x="136" y="112"/>
                    </a:lnTo>
                    <a:lnTo>
                      <a:pt x="128" y="96"/>
                    </a:lnTo>
                    <a:lnTo>
                      <a:pt x="120" y="96"/>
                    </a:lnTo>
                    <a:lnTo>
                      <a:pt x="112" y="80"/>
                    </a:lnTo>
                    <a:lnTo>
                      <a:pt x="104" y="80"/>
                    </a:lnTo>
                    <a:lnTo>
                      <a:pt x="104" y="72"/>
                    </a:lnTo>
                    <a:lnTo>
                      <a:pt x="96" y="64"/>
                    </a:lnTo>
                    <a:lnTo>
                      <a:pt x="96" y="56"/>
                    </a:lnTo>
                    <a:lnTo>
                      <a:pt x="72" y="40"/>
                    </a:lnTo>
                    <a:lnTo>
                      <a:pt x="64" y="40"/>
                    </a:lnTo>
                    <a:lnTo>
                      <a:pt x="24" y="8"/>
                    </a:lnTo>
                    <a:lnTo>
                      <a:pt x="0" y="0"/>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4" name="Freeform 438">
                <a:extLst>
                  <a:ext uri="{FF2B5EF4-FFF2-40B4-BE49-F238E27FC236}">
                    <a16:creationId xmlns:a16="http://schemas.microsoft.com/office/drawing/2014/main" id="{00C9B02C-51C4-4706-8961-F9597851BD02}"/>
                  </a:ext>
                </a:extLst>
              </p:cNvPr>
              <p:cNvSpPr>
                <a:spLocks/>
              </p:cNvSpPr>
              <p:nvPr/>
            </p:nvSpPr>
            <p:spPr bwMode="auto">
              <a:xfrm>
                <a:off x="1946620" y="3037803"/>
                <a:ext cx="340473" cy="380665"/>
              </a:xfrm>
              <a:custGeom>
                <a:avLst/>
                <a:gdLst>
                  <a:gd name="T0" fmla="*/ 0 w 137"/>
                  <a:gd name="T1" fmla="*/ 0 h 145"/>
                  <a:gd name="T2" fmla="*/ 0 w 137"/>
                  <a:gd name="T3" fmla="*/ 14411 h 145"/>
                  <a:gd name="T4" fmla="*/ 28835 w 137"/>
                  <a:gd name="T5" fmla="*/ 43233 h 145"/>
                  <a:gd name="T6" fmla="*/ 57670 w 137"/>
                  <a:gd name="T7" fmla="*/ 72055 h 145"/>
                  <a:gd name="T8" fmla="*/ 72087 w 137"/>
                  <a:gd name="T9" fmla="*/ 86466 h 145"/>
                  <a:gd name="T10" fmla="*/ 86504 w 137"/>
                  <a:gd name="T11" fmla="*/ 115287 h 145"/>
                  <a:gd name="T12" fmla="*/ 115339 w 137"/>
                  <a:gd name="T13" fmla="*/ 144109 h 145"/>
                  <a:gd name="T14" fmla="*/ 144174 w 137"/>
                  <a:gd name="T15" fmla="*/ 201753 h 145"/>
                  <a:gd name="T16" fmla="*/ 201844 w 137"/>
                  <a:gd name="T17" fmla="*/ 259397 h 145"/>
                  <a:gd name="T18" fmla="*/ 230678 w 137"/>
                  <a:gd name="T19" fmla="*/ 259397 h 145"/>
                  <a:gd name="T20" fmla="*/ 245096 w 137"/>
                  <a:gd name="T21" fmla="*/ 201753 h 145"/>
                  <a:gd name="T22" fmla="*/ 230678 w 137"/>
                  <a:gd name="T23" fmla="*/ 172931 h 145"/>
                  <a:gd name="T24" fmla="*/ 216261 w 137"/>
                  <a:gd name="T25" fmla="*/ 172931 h 145"/>
                  <a:gd name="T26" fmla="*/ 201844 w 137"/>
                  <a:gd name="T27" fmla="*/ 144109 h 145"/>
                  <a:gd name="T28" fmla="*/ 187426 w 137"/>
                  <a:gd name="T29" fmla="*/ 144109 h 145"/>
                  <a:gd name="T30" fmla="*/ 187426 w 137"/>
                  <a:gd name="T31" fmla="*/ 129698 h 145"/>
                  <a:gd name="T32" fmla="*/ 173009 w 137"/>
                  <a:gd name="T33" fmla="*/ 115287 h 145"/>
                  <a:gd name="T34" fmla="*/ 173009 w 137"/>
                  <a:gd name="T35" fmla="*/ 100876 h 145"/>
                  <a:gd name="T36" fmla="*/ 129757 w 137"/>
                  <a:gd name="T37" fmla="*/ 72055 h 145"/>
                  <a:gd name="T38" fmla="*/ 115339 w 137"/>
                  <a:gd name="T39" fmla="*/ 72055 h 145"/>
                  <a:gd name="T40" fmla="*/ 43252 w 137"/>
                  <a:gd name="T41" fmla="*/ 14411 h 145"/>
                  <a:gd name="T42" fmla="*/ 0 w 137"/>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7"/>
                  <a:gd name="T67" fmla="*/ 0 h 145"/>
                  <a:gd name="T68" fmla="*/ 137 w 137"/>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7" h="145">
                    <a:moveTo>
                      <a:pt x="0" y="0"/>
                    </a:moveTo>
                    <a:lnTo>
                      <a:pt x="0" y="8"/>
                    </a:lnTo>
                    <a:lnTo>
                      <a:pt x="16" y="24"/>
                    </a:lnTo>
                    <a:lnTo>
                      <a:pt x="32" y="40"/>
                    </a:lnTo>
                    <a:lnTo>
                      <a:pt x="40" y="48"/>
                    </a:lnTo>
                    <a:lnTo>
                      <a:pt x="48" y="64"/>
                    </a:lnTo>
                    <a:lnTo>
                      <a:pt x="64" y="80"/>
                    </a:lnTo>
                    <a:lnTo>
                      <a:pt x="80" y="112"/>
                    </a:lnTo>
                    <a:lnTo>
                      <a:pt x="112" y="144"/>
                    </a:lnTo>
                    <a:lnTo>
                      <a:pt x="128" y="144"/>
                    </a:lnTo>
                    <a:lnTo>
                      <a:pt x="136" y="112"/>
                    </a:lnTo>
                    <a:lnTo>
                      <a:pt x="128" y="96"/>
                    </a:lnTo>
                    <a:lnTo>
                      <a:pt x="120" y="96"/>
                    </a:lnTo>
                    <a:lnTo>
                      <a:pt x="112" y="80"/>
                    </a:lnTo>
                    <a:lnTo>
                      <a:pt x="104" y="80"/>
                    </a:lnTo>
                    <a:lnTo>
                      <a:pt x="104" y="72"/>
                    </a:lnTo>
                    <a:lnTo>
                      <a:pt x="96" y="64"/>
                    </a:lnTo>
                    <a:lnTo>
                      <a:pt x="96" y="56"/>
                    </a:lnTo>
                    <a:lnTo>
                      <a:pt x="72" y="40"/>
                    </a:lnTo>
                    <a:lnTo>
                      <a:pt x="64" y="40"/>
                    </a:lnTo>
                    <a:lnTo>
                      <a:pt x="24" y="8"/>
                    </a:lnTo>
                    <a:lnTo>
                      <a:pt x="0" y="0"/>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5" name="Freeform 439">
                <a:extLst>
                  <a:ext uri="{FF2B5EF4-FFF2-40B4-BE49-F238E27FC236}">
                    <a16:creationId xmlns:a16="http://schemas.microsoft.com/office/drawing/2014/main" id="{EFD65B17-D226-4201-BD55-17EAED248021}"/>
                  </a:ext>
                </a:extLst>
              </p:cNvPr>
              <p:cNvSpPr>
                <a:spLocks/>
              </p:cNvSpPr>
              <p:nvPr/>
            </p:nvSpPr>
            <p:spPr bwMode="auto">
              <a:xfrm>
                <a:off x="2246556" y="3443682"/>
                <a:ext cx="280828" cy="86635"/>
              </a:xfrm>
              <a:custGeom>
                <a:avLst/>
                <a:gdLst>
                  <a:gd name="T0" fmla="*/ 0 w 113"/>
                  <a:gd name="T1" fmla="*/ 14411 h 33"/>
                  <a:gd name="T2" fmla="*/ 0 w 113"/>
                  <a:gd name="T3" fmla="*/ 14411 h 33"/>
                  <a:gd name="T4" fmla="*/ 57670 w 113"/>
                  <a:gd name="T5" fmla="*/ 43233 h 33"/>
                  <a:gd name="T6" fmla="*/ 201844 w 113"/>
                  <a:gd name="T7" fmla="*/ 57644 h 33"/>
                  <a:gd name="T8" fmla="*/ 201844 w 113"/>
                  <a:gd name="T9" fmla="*/ 43233 h 33"/>
                  <a:gd name="T10" fmla="*/ 173009 w 113"/>
                  <a:gd name="T11" fmla="*/ 43233 h 33"/>
                  <a:gd name="T12" fmla="*/ 158592 w 113"/>
                  <a:gd name="T13" fmla="*/ 28822 h 33"/>
                  <a:gd name="T14" fmla="*/ 115339 w 113"/>
                  <a:gd name="T15" fmla="*/ 14411 h 33"/>
                  <a:gd name="T16" fmla="*/ 115339 w 113"/>
                  <a:gd name="T17" fmla="*/ 28822 h 33"/>
                  <a:gd name="T18" fmla="*/ 86504 w 113"/>
                  <a:gd name="T19" fmla="*/ 14411 h 33"/>
                  <a:gd name="T20" fmla="*/ 43252 w 113"/>
                  <a:gd name="T21" fmla="*/ 0 h 33"/>
                  <a:gd name="T22" fmla="*/ 14417 w 113"/>
                  <a:gd name="T23" fmla="*/ 0 h 33"/>
                  <a:gd name="T24" fmla="*/ 0 w 113"/>
                  <a:gd name="T25" fmla="*/ 14411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33"/>
                  <a:gd name="T41" fmla="*/ 113 w 113"/>
                  <a:gd name="T42" fmla="*/ 33 h 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33">
                    <a:moveTo>
                      <a:pt x="0" y="8"/>
                    </a:moveTo>
                    <a:lnTo>
                      <a:pt x="0" y="8"/>
                    </a:lnTo>
                    <a:lnTo>
                      <a:pt x="32" y="24"/>
                    </a:lnTo>
                    <a:lnTo>
                      <a:pt x="112" y="32"/>
                    </a:lnTo>
                    <a:lnTo>
                      <a:pt x="112" y="24"/>
                    </a:lnTo>
                    <a:lnTo>
                      <a:pt x="96" y="24"/>
                    </a:lnTo>
                    <a:lnTo>
                      <a:pt x="88" y="16"/>
                    </a:lnTo>
                    <a:lnTo>
                      <a:pt x="64" y="8"/>
                    </a:lnTo>
                    <a:lnTo>
                      <a:pt x="64" y="16"/>
                    </a:lnTo>
                    <a:lnTo>
                      <a:pt x="48" y="8"/>
                    </a:lnTo>
                    <a:lnTo>
                      <a:pt x="24" y="0"/>
                    </a:lnTo>
                    <a:lnTo>
                      <a:pt x="8"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6" name="Freeform 440">
                <a:extLst>
                  <a:ext uri="{FF2B5EF4-FFF2-40B4-BE49-F238E27FC236}">
                    <a16:creationId xmlns:a16="http://schemas.microsoft.com/office/drawing/2014/main" id="{0916CAF3-F7F8-43AD-BC0D-52D084E70C1E}"/>
                  </a:ext>
                </a:extLst>
              </p:cNvPr>
              <p:cNvSpPr>
                <a:spLocks/>
              </p:cNvSpPr>
              <p:nvPr/>
            </p:nvSpPr>
            <p:spPr bwMode="auto">
              <a:xfrm>
                <a:off x="2246556" y="3443682"/>
                <a:ext cx="280828" cy="86635"/>
              </a:xfrm>
              <a:custGeom>
                <a:avLst/>
                <a:gdLst>
                  <a:gd name="T0" fmla="*/ 0 w 113"/>
                  <a:gd name="T1" fmla="*/ 14411 h 33"/>
                  <a:gd name="T2" fmla="*/ 57670 w 113"/>
                  <a:gd name="T3" fmla="*/ 43233 h 33"/>
                  <a:gd name="T4" fmla="*/ 201844 w 113"/>
                  <a:gd name="T5" fmla="*/ 57644 h 33"/>
                  <a:gd name="T6" fmla="*/ 201844 w 113"/>
                  <a:gd name="T7" fmla="*/ 43233 h 33"/>
                  <a:gd name="T8" fmla="*/ 173009 w 113"/>
                  <a:gd name="T9" fmla="*/ 43233 h 33"/>
                  <a:gd name="T10" fmla="*/ 158592 w 113"/>
                  <a:gd name="T11" fmla="*/ 28822 h 33"/>
                  <a:gd name="T12" fmla="*/ 115339 w 113"/>
                  <a:gd name="T13" fmla="*/ 14411 h 33"/>
                  <a:gd name="T14" fmla="*/ 115339 w 113"/>
                  <a:gd name="T15" fmla="*/ 28822 h 33"/>
                  <a:gd name="T16" fmla="*/ 86504 w 113"/>
                  <a:gd name="T17" fmla="*/ 14411 h 33"/>
                  <a:gd name="T18" fmla="*/ 43252 w 113"/>
                  <a:gd name="T19" fmla="*/ 0 h 33"/>
                  <a:gd name="T20" fmla="*/ 14417 w 113"/>
                  <a:gd name="T21" fmla="*/ 0 h 33"/>
                  <a:gd name="T22" fmla="*/ 0 w 113"/>
                  <a:gd name="T23" fmla="*/ 14411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3"/>
                  <a:gd name="T37" fmla="*/ 0 h 33"/>
                  <a:gd name="T38" fmla="*/ 113 w 113"/>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3" h="33">
                    <a:moveTo>
                      <a:pt x="0" y="8"/>
                    </a:moveTo>
                    <a:lnTo>
                      <a:pt x="32" y="24"/>
                    </a:lnTo>
                    <a:lnTo>
                      <a:pt x="112" y="32"/>
                    </a:lnTo>
                    <a:lnTo>
                      <a:pt x="112" y="24"/>
                    </a:lnTo>
                    <a:lnTo>
                      <a:pt x="96" y="24"/>
                    </a:lnTo>
                    <a:lnTo>
                      <a:pt x="88" y="16"/>
                    </a:lnTo>
                    <a:lnTo>
                      <a:pt x="64" y="8"/>
                    </a:lnTo>
                    <a:lnTo>
                      <a:pt x="64" y="16"/>
                    </a:lnTo>
                    <a:lnTo>
                      <a:pt x="48" y="8"/>
                    </a:lnTo>
                    <a:lnTo>
                      <a:pt x="24" y="0"/>
                    </a:lnTo>
                    <a:lnTo>
                      <a:pt x="8"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7" name="Freeform 441">
                <a:extLst>
                  <a:ext uri="{FF2B5EF4-FFF2-40B4-BE49-F238E27FC236}">
                    <a16:creationId xmlns:a16="http://schemas.microsoft.com/office/drawing/2014/main" id="{B2EC37CD-6E36-45F3-B59B-9A55EF8A1A9C}"/>
                  </a:ext>
                </a:extLst>
              </p:cNvPr>
              <p:cNvSpPr>
                <a:spLocks/>
              </p:cNvSpPr>
              <p:nvPr/>
            </p:nvSpPr>
            <p:spPr bwMode="auto">
              <a:xfrm>
                <a:off x="2524899" y="3527689"/>
                <a:ext cx="42248" cy="2624"/>
              </a:xfrm>
              <a:custGeom>
                <a:avLst/>
                <a:gdLst>
                  <a:gd name="T0" fmla="*/ 0 w 17"/>
                  <a:gd name="T1" fmla="*/ 0 h 1"/>
                  <a:gd name="T2" fmla="*/ 0 w 17"/>
                  <a:gd name="T3" fmla="*/ 0 h 1"/>
                  <a:gd name="T4" fmla="*/ 14417 w 17"/>
                  <a:gd name="T5" fmla="*/ 0 h 1"/>
                  <a:gd name="T6" fmla="*/ 28835 w 17"/>
                  <a:gd name="T7" fmla="*/ 0 h 1"/>
                  <a:gd name="T8" fmla="*/ 0 w 17"/>
                  <a:gd name="T9" fmla="*/ 0 h 1"/>
                  <a:gd name="T10" fmla="*/ 0 60000 65536"/>
                  <a:gd name="T11" fmla="*/ 0 60000 65536"/>
                  <a:gd name="T12" fmla="*/ 0 60000 65536"/>
                  <a:gd name="T13" fmla="*/ 0 60000 65536"/>
                  <a:gd name="T14" fmla="*/ 0 60000 65536"/>
                  <a:gd name="T15" fmla="*/ 0 w 17"/>
                  <a:gd name="T16" fmla="*/ 0 h 1"/>
                  <a:gd name="T17" fmla="*/ 17 w 17"/>
                  <a:gd name="T18" fmla="*/ 1 h 1"/>
                </a:gdLst>
                <a:ahLst/>
                <a:cxnLst>
                  <a:cxn ang="T10">
                    <a:pos x="T0" y="T1"/>
                  </a:cxn>
                  <a:cxn ang="T11">
                    <a:pos x="T2" y="T3"/>
                  </a:cxn>
                  <a:cxn ang="T12">
                    <a:pos x="T4" y="T5"/>
                  </a:cxn>
                  <a:cxn ang="T13">
                    <a:pos x="T6" y="T7"/>
                  </a:cxn>
                  <a:cxn ang="T14">
                    <a:pos x="T8" y="T9"/>
                  </a:cxn>
                </a:cxnLst>
                <a:rect l="T15" t="T16" r="T17" b="T18"/>
                <a:pathLst>
                  <a:path w="17" h="1">
                    <a:moveTo>
                      <a:pt x="0" y="0"/>
                    </a:moveTo>
                    <a:lnTo>
                      <a:pt x="0" y="0"/>
                    </a:lnTo>
                    <a:lnTo>
                      <a:pt x="8" y="0"/>
                    </a:lnTo>
                    <a:lnTo>
                      <a:pt x="16" y="0"/>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8" name="Freeform 442">
                <a:extLst>
                  <a:ext uri="{FF2B5EF4-FFF2-40B4-BE49-F238E27FC236}">
                    <a16:creationId xmlns:a16="http://schemas.microsoft.com/office/drawing/2014/main" id="{A7E664DE-43A8-4A68-98C9-A2A97D770760}"/>
                  </a:ext>
                </a:extLst>
              </p:cNvPr>
              <p:cNvSpPr>
                <a:spLocks/>
              </p:cNvSpPr>
              <p:nvPr/>
            </p:nvSpPr>
            <p:spPr bwMode="auto">
              <a:xfrm>
                <a:off x="2524899" y="3527689"/>
                <a:ext cx="42248" cy="2624"/>
              </a:xfrm>
              <a:custGeom>
                <a:avLst/>
                <a:gdLst>
                  <a:gd name="T0" fmla="*/ 0 w 17"/>
                  <a:gd name="T1" fmla="*/ 0 h 1"/>
                  <a:gd name="T2" fmla="*/ 14417 w 17"/>
                  <a:gd name="T3" fmla="*/ 0 h 1"/>
                  <a:gd name="T4" fmla="*/ 28835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1 h 1"/>
                </a:gdLst>
                <a:ahLst/>
                <a:cxnLst>
                  <a:cxn ang="T8">
                    <a:pos x="T0" y="T1"/>
                  </a:cxn>
                  <a:cxn ang="T9">
                    <a:pos x="T2" y="T3"/>
                  </a:cxn>
                  <a:cxn ang="T10">
                    <a:pos x="T4" y="T5"/>
                  </a:cxn>
                  <a:cxn ang="T11">
                    <a:pos x="T6" y="T7"/>
                  </a:cxn>
                </a:cxnLst>
                <a:rect l="T12" t="T13" r="T14" b="T15"/>
                <a:pathLst>
                  <a:path w="17" h="1">
                    <a:moveTo>
                      <a:pt x="0" y="0"/>
                    </a:moveTo>
                    <a:lnTo>
                      <a:pt x="8" y="0"/>
                    </a:lnTo>
                    <a:lnTo>
                      <a:pt x="16" y="0"/>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99" name="Freeform 443">
                <a:extLst>
                  <a:ext uri="{FF2B5EF4-FFF2-40B4-BE49-F238E27FC236}">
                    <a16:creationId xmlns:a16="http://schemas.microsoft.com/office/drawing/2014/main" id="{FAACF79B-6225-4F36-A9FB-070631A5BC9F}"/>
                  </a:ext>
                </a:extLst>
              </p:cNvPr>
              <p:cNvSpPr>
                <a:spLocks/>
              </p:cNvSpPr>
              <p:nvPr/>
            </p:nvSpPr>
            <p:spPr bwMode="auto">
              <a:xfrm>
                <a:off x="2584545" y="3527689"/>
                <a:ext cx="241065" cy="23627"/>
              </a:xfrm>
              <a:custGeom>
                <a:avLst/>
                <a:gdLst>
                  <a:gd name="T0" fmla="*/ 0 w 97"/>
                  <a:gd name="T1" fmla="*/ 14411 h 9"/>
                  <a:gd name="T2" fmla="*/ 0 w 97"/>
                  <a:gd name="T3" fmla="*/ 14411 h 9"/>
                  <a:gd name="T4" fmla="*/ 14417 w 97"/>
                  <a:gd name="T5" fmla="*/ 14411 h 9"/>
                  <a:gd name="T6" fmla="*/ 72087 w 97"/>
                  <a:gd name="T7" fmla="*/ 0 h 9"/>
                  <a:gd name="T8" fmla="*/ 129757 w 97"/>
                  <a:gd name="T9" fmla="*/ 14411 h 9"/>
                  <a:gd name="T10" fmla="*/ 173009 w 97"/>
                  <a:gd name="T11" fmla="*/ 0 h 9"/>
                  <a:gd name="T12" fmla="*/ 144174 w 97"/>
                  <a:gd name="T13" fmla="*/ 0 h 9"/>
                  <a:gd name="T14" fmla="*/ 100922 w 97"/>
                  <a:gd name="T15" fmla="*/ 0 h 9"/>
                  <a:gd name="T16" fmla="*/ 72087 w 97"/>
                  <a:gd name="T17" fmla="*/ 0 h 9"/>
                  <a:gd name="T18" fmla="*/ 28835 w 97"/>
                  <a:gd name="T19" fmla="*/ 0 h 9"/>
                  <a:gd name="T20" fmla="*/ 43252 w 97"/>
                  <a:gd name="T21" fmla="*/ 0 h 9"/>
                  <a:gd name="T22" fmla="*/ 0 w 97"/>
                  <a:gd name="T23" fmla="*/ 0 h 9"/>
                  <a:gd name="T24" fmla="*/ 0 w 97"/>
                  <a:gd name="T25" fmla="*/ 14411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9"/>
                  <a:gd name="T41" fmla="*/ 97 w 97"/>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9">
                    <a:moveTo>
                      <a:pt x="0" y="8"/>
                    </a:moveTo>
                    <a:lnTo>
                      <a:pt x="0" y="8"/>
                    </a:lnTo>
                    <a:lnTo>
                      <a:pt x="8" y="8"/>
                    </a:lnTo>
                    <a:lnTo>
                      <a:pt x="40" y="0"/>
                    </a:lnTo>
                    <a:lnTo>
                      <a:pt x="72" y="8"/>
                    </a:lnTo>
                    <a:lnTo>
                      <a:pt x="96" y="0"/>
                    </a:lnTo>
                    <a:lnTo>
                      <a:pt x="80" y="0"/>
                    </a:lnTo>
                    <a:lnTo>
                      <a:pt x="56" y="0"/>
                    </a:lnTo>
                    <a:lnTo>
                      <a:pt x="40" y="0"/>
                    </a:lnTo>
                    <a:lnTo>
                      <a:pt x="16" y="0"/>
                    </a:lnTo>
                    <a:lnTo>
                      <a:pt x="24" y="0"/>
                    </a:lnTo>
                    <a:lnTo>
                      <a:pt x="0"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00" name="Freeform 444">
                <a:extLst>
                  <a:ext uri="{FF2B5EF4-FFF2-40B4-BE49-F238E27FC236}">
                    <a16:creationId xmlns:a16="http://schemas.microsoft.com/office/drawing/2014/main" id="{33D7810B-5930-4520-9B4A-A22C0921DE30}"/>
                  </a:ext>
                </a:extLst>
              </p:cNvPr>
              <p:cNvSpPr>
                <a:spLocks/>
              </p:cNvSpPr>
              <p:nvPr/>
            </p:nvSpPr>
            <p:spPr bwMode="auto">
              <a:xfrm>
                <a:off x="2584545" y="3527689"/>
                <a:ext cx="241065" cy="23627"/>
              </a:xfrm>
              <a:custGeom>
                <a:avLst/>
                <a:gdLst>
                  <a:gd name="T0" fmla="*/ 0 w 97"/>
                  <a:gd name="T1" fmla="*/ 14411 h 9"/>
                  <a:gd name="T2" fmla="*/ 14417 w 97"/>
                  <a:gd name="T3" fmla="*/ 14411 h 9"/>
                  <a:gd name="T4" fmla="*/ 72087 w 97"/>
                  <a:gd name="T5" fmla="*/ 0 h 9"/>
                  <a:gd name="T6" fmla="*/ 129757 w 97"/>
                  <a:gd name="T7" fmla="*/ 14411 h 9"/>
                  <a:gd name="T8" fmla="*/ 173009 w 97"/>
                  <a:gd name="T9" fmla="*/ 0 h 9"/>
                  <a:gd name="T10" fmla="*/ 144174 w 97"/>
                  <a:gd name="T11" fmla="*/ 0 h 9"/>
                  <a:gd name="T12" fmla="*/ 100922 w 97"/>
                  <a:gd name="T13" fmla="*/ 0 h 9"/>
                  <a:gd name="T14" fmla="*/ 72087 w 97"/>
                  <a:gd name="T15" fmla="*/ 0 h 9"/>
                  <a:gd name="T16" fmla="*/ 28835 w 97"/>
                  <a:gd name="T17" fmla="*/ 0 h 9"/>
                  <a:gd name="T18" fmla="*/ 43252 w 97"/>
                  <a:gd name="T19" fmla="*/ 0 h 9"/>
                  <a:gd name="T20" fmla="*/ 0 w 97"/>
                  <a:gd name="T21" fmla="*/ 0 h 9"/>
                  <a:gd name="T22" fmla="*/ 0 w 97"/>
                  <a:gd name="T23" fmla="*/ 14411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9"/>
                  <a:gd name="T38" fmla="*/ 97 w 97"/>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9">
                    <a:moveTo>
                      <a:pt x="0" y="8"/>
                    </a:moveTo>
                    <a:lnTo>
                      <a:pt x="8" y="8"/>
                    </a:lnTo>
                    <a:lnTo>
                      <a:pt x="40" y="0"/>
                    </a:lnTo>
                    <a:lnTo>
                      <a:pt x="72" y="8"/>
                    </a:lnTo>
                    <a:lnTo>
                      <a:pt x="96" y="0"/>
                    </a:lnTo>
                    <a:lnTo>
                      <a:pt x="80" y="0"/>
                    </a:lnTo>
                    <a:lnTo>
                      <a:pt x="56" y="0"/>
                    </a:lnTo>
                    <a:lnTo>
                      <a:pt x="40" y="0"/>
                    </a:lnTo>
                    <a:lnTo>
                      <a:pt x="16" y="0"/>
                    </a:lnTo>
                    <a:lnTo>
                      <a:pt x="24" y="0"/>
                    </a:lnTo>
                    <a:lnTo>
                      <a:pt x="0"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01" name="Line 445">
                <a:extLst>
                  <a:ext uri="{FF2B5EF4-FFF2-40B4-BE49-F238E27FC236}">
                    <a16:creationId xmlns:a16="http://schemas.microsoft.com/office/drawing/2014/main" id="{A59C13C5-EAD4-48AC-B0EE-0CB031001E4E}"/>
                  </a:ext>
                </a:extLst>
              </p:cNvPr>
              <p:cNvSpPr>
                <a:spLocks noChangeShapeType="1"/>
              </p:cNvSpPr>
              <p:nvPr/>
            </p:nvSpPr>
            <p:spPr bwMode="auto">
              <a:xfrm>
                <a:off x="2852946" y="3559192"/>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02" name="Line 446">
                <a:extLst>
                  <a:ext uri="{FF2B5EF4-FFF2-40B4-BE49-F238E27FC236}">
                    <a16:creationId xmlns:a16="http://schemas.microsoft.com/office/drawing/2014/main" id="{896A2454-B1CE-4187-918C-E5576D953DCC}"/>
                  </a:ext>
                </a:extLst>
              </p:cNvPr>
              <p:cNvSpPr>
                <a:spLocks noChangeShapeType="1"/>
              </p:cNvSpPr>
              <p:nvPr/>
            </p:nvSpPr>
            <p:spPr bwMode="auto">
              <a:xfrm>
                <a:off x="2892711" y="3538191"/>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03" name="Freeform 447">
                <a:extLst>
                  <a:ext uri="{FF2B5EF4-FFF2-40B4-BE49-F238E27FC236}">
                    <a16:creationId xmlns:a16="http://schemas.microsoft.com/office/drawing/2014/main" id="{44398345-AD3B-4E81-BC76-2385AE7E1AD3}"/>
                  </a:ext>
                </a:extLst>
              </p:cNvPr>
              <p:cNvSpPr>
                <a:spLocks/>
              </p:cNvSpPr>
              <p:nvPr/>
            </p:nvSpPr>
            <p:spPr bwMode="auto">
              <a:xfrm>
                <a:off x="2664070" y="3569693"/>
                <a:ext cx="62129" cy="23627"/>
              </a:xfrm>
              <a:custGeom>
                <a:avLst/>
                <a:gdLst>
                  <a:gd name="T0" fmla="*/ 0 w 25"/>
                  <a:gd name="T1" fmla="*/ 0 h 9"/>
                  <a:gd name="T2" fmla="*/ 0 w 25"/>
                  <a:gd name="T3" fmla="*/ 0 h 9"/>
                  <a:gd name="T4" fmla="*/ 28835 w 25"/>
                  <a:gd name="T5" fmla="*/ 14411 h 9"/>
                  <a:gd name="T6" fmla="*/ 43252 w 25"/>
                  <a:gd name="T7" fmla="*/ 14411 h 9"/>
                  <a:gd name="T8" fmla="*/ 28835 w 25"/>
                  <a:gd name="T9" fmla="*/ 0 h 9"/>
                  <a:gd name="T10" fmla="*/ 0 w 25"/>
                  <a:gd name="T11" fmla="*/ 0 h 9"/>
                  <a:gd name="T12" fmla="*/ 0 60000 65536"/>
                  <a:gd name="T13" fmla="*/ 0 60000 65536"/>
                  <a:gd name="T14" fmla="*/ 0 60000 65536"/>
                  <a:gd name="T15" fmla="*/ 0 60000 65536"/>
                  <a:gd name="T16" fmla="*/ 0 60000 65536"/>
                  <a:gd name="T17" fmla="*/ 0 60000 65536"/>
                  <a:gd name="T18" fmla="*/ 0 w 25"/>
                  <a:gd name="T19" fmla="*/ 0 h 9"/>
                  <a:gd name="T20" fmla="*/ 25 w 25"/>
                  <a:gd name="T21" fmla="*/ 9 h 9"/>
                </a:gdLst>
                <a:ahLst/>
                <a:cxnLst>
                  <a:cxn ang="T12">
                    <a:pos x="T0" y="T1"/>
                  </a:cxn>
                  <a:cxn ang="T13">
                    <a:pos x="T2" y="T3"/>
                  </a:cxn>
                  <a:cxn ang="T14">
                    <a:pos x="T4" y="T5"/>
                  </a:cxn>
                  <a:cxn ang="T15">
                    <a:pos x="T6" y="T7"/>
                  </a:cxn>
                  <a:cxn ang="T16">
                    <a:pos x="T8" y="T9"/>
                  </a:cxn>
                  <a:cxn ang="T17">
                    <a:pos x="T10" y="T11"/>
                  </a:cxn>
                </a:cxnLst>
                <a:rect l="T18" t="T19" r="T20" b="T21"/>
                <a:pathLst>
                  <a:path w="25" h="9">
                    <a:moveTo>
                      <a:pt x="0" y="0"/>
                    </a:moveTo>
                    <a:lnTo>
                      <a:pt x="0" y="0"/>
                    </a:lnTo>
                    <a:lnTo>
                      <a:pt x="16" y="8"/>
                    </a:lnTo>
                    <a:lnTo>
                      <a:pt x="24" y="8"/>
                    </a:lnTo>
                    <a:lnTo>
                      <a:pt x="16" y="0"/>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04" name="Freeform 448">
                <a:extLst>
                  <a:ext uri="{FF2B5EF4-FFF2-40B4-BE49-F238E27FC236}">
                    <a16:creationId xmlns:a16="http://schemas.microsoft.com/office/drawing/2014/main" id="{635ECB20-FD0B-4F77-A92F-6DA07F8416D7}"/>
                  </a:ext>
                </a:extLst>
              </p:cNvPr>
              <p:cNvSpPr>
                <a:spLocks/>
              </p:cNvSpPr>
              <p:nvPr/>
            </p:nvSpPr>
            <p:spPr bwMode="auto">
              <a:xfrm>
                <a:off x="2664070" y="3569693"/>
                <a:ext cx="62129" cy="23627"/>
              </a:xfrm>
              <a:custGeom>
                <a:avLst/>
                <a:gdLst>
                  <a:gd name="T0" fmla="*/ 0 w 25"/>
                  <a:gd name="T1" fmla="*/ 0 h 9"/>
                  <a:gd name="T2" fmla="*/ 28835 w 25"/>
                  <a:gd name="T3" fmla="*/ 14411 h 9"/>
                  <a:gd name="T4" fmla="*/ 43252 w 25"/>
                  <a:gd name="T5" fmla="*/ 14411 h 9"/>
                  <a:gd name="T6" fmla="*/ 28835 w 25"/>
                  <a:gd name="T7" fmla="*/ 0 h 9"/>
                  <a:gd name="T8" fmla="*/ 0 w 25"/>
                  <a:gd name="T9" fmla="*/ 0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0" y="0"/>
                    </a:moveTo>
                    <a:lnTo>
                      <a:pt x="16" y="8"/>
                    </a:lnTo>
                    <a:lnTo>
                      <a:pt x="24" y="8"/>
                    </a:lnTo>
                    <a:lnTo>
                      <a:pt x="16" y="0"/>
                    </a:lnTo>
                    <a:lnTo>
                      <a:pt x="0" y="0"/>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05" name="Freeform 449">
                <a:extLst>
                  <a:ext uri="{FF2B5EF4-FFF2-40B4-BE49-F238E27FC236}">
                    <a16:creationId xmlns:a16="http://schemas.microsoft.com/office/drawing/2014/main" id="{602F6D49-8402-4471-ACA9-2799C90A878B}"/>
                  </a:ext>
                </a:extLst>
              </p:cNvPr>
              <p:cNvSpPr>
                <a:spLocks/>
              </p:cNvSpPr>
              <p:nvPr/>
            </p:nvSpPr>
            <p:spPr bwMode="auto">
              <a:xfrm>
                <a:off x="2803242" y="3527689"/>
                <a:ext cx="121776" cy="65633"/>
              </a:xfrm>
              <a:custGeom>
                <a:avLst/>
                <a:gdLst>
                  <a:gd name="T0" fmla="*/ 0 w 49"/>
                  <a:gd name="T1" fmla="*/ 43233 h 25"/>
                  <a:gd name="T2" fmla="*/ 0 w 49"/>
                  <a:gd name="T3" fmla="*/ 43233 h 25"/>
                  <a:gd name="T4" fmla="*/ 28835 w 49"/>
                  <a:gd name="T5" fmla="*/ 43233 h 25"/>
                  <a:gd name="T6" fmla="*/ 86505 w 49"/>
                  <a:gd name="T7" fmla="*/ 0 h 25"/>
                  <a:gd name="T8" fmla="*/ 43252 w 49"/>
                  <a:gd name="T9" fmla="*/ 0 h 25"/>
                  <a:gd name="T10" fmla="*/ 14417 w 49"/>
                  <a:gd name="T11" fmla="*/ 28822 h 25"/>
                  <a:gd name="T12" fmla="*/ 0 w 49"/>
                  <a:gd name="T13" fmla="*/ 43233 h 25"/>
                  <a:gd name="T14" fmla="*/ 0 60000 65536"/>
                  <a:gd name="T15" fmla="*/ 0 60000 65536"/>
                  <a:gd name="T16" fmla="*/ 0 60000 65536"/>
                  <a:gd name="T17" fmla="*/ 0 60000 65536"/>
                  <a:gd name="T18" fmla="*/ 0 60000 65536"/>
                  <a:gd name="T19" fmla="*/ 0 60000 65536"/>
                  <a:gd name="T20" fmla="*/ 0 60000 65536"/>
                  <a:gd name="T21" fmla="*/ 0 w 49"/>
                  <a:gd name="T22" fmla="*/ 0 h 25"/>
                  <a:gd name="T23" fmla="*/ 49 w 49"/>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25">
                    <a:moveTo>
                      <a:pt x="0" y="24"/>
                    </a:moveTo>
                    <a:lnTo>
                      <a:pt x="0" y="24"/>
                    </a:lnTo>
                    <a:lnTo>
                      <a:pt x="16" y="24"/>
                    </a:lnTo>
                    <a:lnTo>
                      <a:pt x="48" y="0"/>
                    </a:lnTo>
                    <a:lnTo>
                      <a:pt x="24" y="0"/>
                    </a:lnTo>
                    <a:lnTo>
                      <a:pt x="8" y="16"/>
                    </a:lnTo>
                    <a:lnTo>
                      <a:pt x="0" y="24"/>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06" name="Freeform 450">
                <a:extLst>
                  <a:ext uri="{FF2B5EF4-FFF2-40B4-BE49-F238E27FC236}">
                    <a16:creationId xmlns:a16="http://schemas.microsoft.com/office/drawing/2014/main" id="{2C0BCD07-90FD-4FEA-9141-A4CC26B801B1}"/>
                  </a:ext>
                </a:extLst>
              </p:cNvPr>
              <p:cNvSpPr>
                <a:spLocks/>
              </p:cNvSpPr>
              <p:nvPr/>
            </p:nvSpPr>
            <p:spPr bwMode="auto">
              <a:xfrm>
                <a:off x="2803242" y="3527689"/>
                <a:ext cx="121776" cy="65633"/>
              </a:xfrm>
              <a:custGeom>
                <a:avLst/>
                <a:gdLst>
                  <a:gd name="T0" fmla="*/ 0 w 49"/>
                  <a:gd name="T1" fmla="*/ 43233 h 25"/>
                  <a:gd name="T2" fmla="*/ 28835 w 49"/>
                  <a:gd name="T3" fmla="*/ 43233 h 25"/>
                  <a:gd name="T4" fmla="*/ 86505 w 49"/>
                  <a:gd name="T5" fmla="*/ 0 h 25"/>
                  <a:gd name="T6" fmla="*/ 43252 w 49"/>
                  <a:gd name="T7" fmla="*/ 0 h 25"/>
                  <a:gd name="T8" fmla="*/ 14417 w 49"/>
                  <a:gd name="T9" fmla="*/ 28822 h 25"/>
                  <a:gd name="T10" fmla="*/ 0 w 49"/>
                  <a:gd name="T11" fmla="*/ 43233 h 25"/>
                  <a:gd name="T12" fmla="*/ 0 60000 65536"/>
                  <a:gd name="T13" fmla="*/ 0 60000 65536"/>
                  <a:gd name="T14" fmla="*/ 0 60000 65536"/>
                  <a:gd name="T15" fmla="*/ 0 60000 65536"/>
                  <a:gd name="T16" fmla="*/ 0 60000 65536"/>
                  <a:gd name="T17" fmla="*/ 0 60000 65536"/>
                  <a:gd name="T18" fmla="*/ 0 w 49"/>
                  <a:gd name="T19" fmla="*/ 0 h 25"/>
                  <a:gd name="T20" fmla="*/ 49 w 49"/>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9" h="25">
                    <a:moveTo>
                      <a:pt x="0" y="24"/>
                    </a:moveTo>
                    <a:lnTo>
                      <a:pt x="16" y="24"/>
                    </a:lnTo>
                    <a:lnTo>
                      <a:pt x="48" y="0"/>
                    </a:lnTo>
                    <a:lnTo>
                      <a:pt x="24" y="0"/>
                    </a:lnTo>
                    <a:lnTo>
                      <a:pt x="8" y="16"/>
                    </a:lnTo>
                    <a:lnTo>
                      <a:pt x="0" y="24"/>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07" name="Freeform 451">
                <a:extLst>
                  <a:ext uri="{FF2B5EF4-FFF2-40B4-BE49-F238E27FC236}">
                    <a16:creationId xmlns:a16="http://schemas.microsoft.com/office/drawing/2014/main" id="{5D07C153-8E6E-4BD5-8174-401872A60742}"/>
                  </a:ext>
                </a:extLst>
              </p:cNvPr>
              <p:cNvSpPr>
                <a:spLocks/>
              </p:cNvSpPr>
              <p:nvPr/>
            </p:nvSpPr>
            <p:spPr bwMode="auto">
              <a:xfrm>
                <a:off x="3141232" y="3422680"/>
                <a:ext cx="22369" cy="65633"/>
              </a:xfrm>
              <a:custGeom>
                <a:avLst/>
                <a:gdLst>
                  <a:gd name="T0" fmla="*/ 0 w 9"/>
                  <a:gd name="T1" fmla="*/ 43233 h 25"/>
                  <a:gd name="T2" fmla="*/ 0 w 9"/>
                  <a:gd name="T3" fmla="*/ 43233 h 25"/>
                  <a:gd name="T4" fmla="*/ 14418 w 9"/>
                  <a:gd name="T5" fmla="*/ 14411 h 25"/>
                  <a:gd name="T6" fmla="*/ 14418 w 9"/>
                  <a:gd name="T7" fmla="*/ 0 h 25"/>
                  <a:gd name="T8" fmla="*/ 0 w 9"/>
                  <a:gd name="T9" fmla="*/ 43233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24"/>
                    </a:moveTo>
                    <a:lnTo>
                      <a:pt x="0" y="24"/>
                    </a:lnTo>
                    <a:lnTo>
                      <a:pt x="8" y="8"/>
                    </a:lnTo>
                    <a:lnTo>
                      <a:pt x="8" y="0"/>
                    </a:lnTo>
                    <a:lnTo>
                      <a:pt x="0" y="24"/>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08" name="Freeform 452">
                <a:extLst>
                  <a:ext uri="{FF2B5EF4-FFF2-40B4-BE49-F238E27FC236}">
                    <a16:creationId xmlns:a16="http://schemas.microsoft.com/office/drawing/2014/main" id="{576E485F-A72D-4CDA-BE9B-AF230C816145}"/>
                  </a:ext>
                </a:extLst>
              </p:cNvPr>
              <p:cNvSpPr>
                <a:spLocks/>
              </p:cNvSpPr>
              <p:nvPr/>
            </p:nvSpPr>
            <p:spPr bwMode="auto">
              <a:xfrm>
                <a:off x="3141232" y="3422680"/>
                <a:ext cx="22369" cy="65633"/>
              </a:xfrm>
              <a:custGeom>
                <a:avLst/>
                <a:gdLst>
                  <a:gd name="T0" fmla="*/ 0 w 9"/>
                  <a:gd name="T1" fmla="*/ 43233 h 25"/>
                  <a:gd name="T2" fmla="*/ 14418 w 9"/>
                  <a:gd name="T3" fmla="*/ 14411 h 25"/>
                  <a:gd name="T4" fmla="*/ 14418 w 9"/>
                  <a:gd name="T5" fmla="*/ 0 h 25"/>
                  <a:gd name="T6" fmla="*/ 0 w 9"/>
                  <a:gd name="T7" fmla="*/ 43233 h 25"/>
                  <a:gd name="T8" fmla="*/ 0 60000 65536"/>
                  <a:gd name="T9" fmla="*/ 0 60000 65536"/>
                  <a:gd name="T10" fmla="*/ 0 60000 65536"/>
                  <a:gd name="T11" fmla="*/ 0 60000 65536"/>
                  <a:gd name="T12" fmla="*/ 0 w 9"/>
                  <a:gd name="T13" fmla="*/ 0 h 25"/>
                  <a:gd name="T14" fmla="*/ 9 w 9"/>
                  <a:gd name="T15" fmla="*/ 25 h 25"/>
                </a:gdLst>
                <a:ahLst/>
                <a:cxnLst>
                  <a:cxn ang="T8">
                    <a:pos x="T0" y="T1"/>
                  </a:cxn>
                  <a:cxn ang="T9">
                    <a:pos x="T2" y="T3"/>
                  </a:cxn>
                  <a:cxn ang="T10">
                    <a:pos x="T4" y="T5"/>
                  </a:cxn>
                  <a:cxn ang="T11">
                    <a:pos x="T6" y="T7"/>
                  </a:cxn>
                </a:cxnLst>
                <a:rect l="T12" t="T13" r="T14" b="T15"/>
                <a:pathLst>
                  <a:path w="9" h="25">
                    <a:moveTo>
                      <a:pt x="0" y="24"/>
                    </a:moveTo>
                    <a:lnTo>
                      <a:pt x="8" y="8"/>
                    </a:lnTo>
                    <a:lnTo>
                      <a:pt x="8" y="0"/>
                    </a:lnTo>
                    <a:lnTo>
                      <a:pt x="0" y="24"/>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09" name="Freeform 453">
                <a:extLst>
                  <a:ext uri="{FF2B5EF4-FFF2-40B4-BE49-F238E27FC236}">
                    <a16:creationId xmlns:a16="http://schemas.microsoft.com/office/drawing/2014/main" id="{E3C13F07-3C07-4509-8676-500389D84A38}"/>
                  </a:ext>
                </a:extLst>
              </p:cNvPr>
              <p:cNvSpPr>
                <a:spLocks/>
              </p:cNvSpPr>
              <p:nvPr/>
            </p:nvSpPr>
            <p:spPr bwMode="auto">
              <a:xfrm>
                <a:off x="2246556" y="3296665"/>
                <a:ext cx="42248" cy="65633"/>
              </a:xfrm>
              <a:custGeom>
                <a:avLst/>
                <a:gdLst>
                  <a:gd name="T0" fmla="*/ 0 w 17"/>
                  <a:gd name="T1" fmla="*/ 14411 h 25"/>
                  <a:gd name="T2" fmla="*/ 0 w 17"/>
                  <a:gd name="T3" fmla="*/ 14411 h 25"/>
                  <a:gd name="T4" fmla="*/ 14417 w 17"/>
                  <a:gd name="T5" fmla="*/ 28822 h 25"/>
                  <a:gd name="T6" fmla="*/ 28835 w 17"/>
                  <a:gd name="T7" fmla="*/ 43233 h 25"/>
                  <a:gd name="T8" fmla="*/ 28835 w 17"/>
                  <a:gd name="T9" fmla="*/ 28822 h 25"/>
                  <a:gd name="T10" fmla="*/ 14417 w 17"/>
                  <a:gd name="T11" fmla="*/ 0 h 25"/>
                  <a:gd name="T12" fmla="*/ 0 w 17"/>
                  <a:gd name="T13" fmla="*/ 14411 h 25"/>
                  <a:gd name="T14" fmla="*/ 0 60000 65536"/>
                  <a:gd name="T15" fmla="*/ 0 60000 65536"/>
                  <a:gd name="T16" fmla="*/ 0 60000 65536"/>
                  <a:gd name="T17" fmla="*/ 0 60000 65536"/>
                  <a:gd name="T18" fmla="*/ 0 60000 65536"/>
                  <a:gd name="T19" fmla="*/ 0 60000 65536"/>
                  <a:gd name="T20" fmla="*/ 0 60000 65536"/>
                  <a:gd name="T21" fmla="*/ 0 w 17"/>
                  <a:gd name="T22" fmla="*/ 0 h 25"/>
                  <a:gd name="T23" fmla="*/ 17 w 17"/>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5">
                    <a:moveTo>
                      <a:pt x="0" y="8"/>
                    </a:moveTo>
                    <a:lnTo>
                      <a:pt x="0" y="8"/>
                    </a:lnTo>
                    <a:lnTo>
                      <a:pt x="8" y="16"/>
                    </a:lnTo>
                    <a:lnTo>
                      <a:pt x="16" y="24"/>
                    </a:lnTo>
                    <a:lnTo>
                      <a:pt x="16" y="16"/>
                    </a:lnTo>
                    <a:lnTo>
                      <a:pt x="8"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0" name="Freeform 454">
                <a:extLst>
                  <a:ext uri="{FF2B5EF4-FFF2-40B4-BE49-F238E27FC236}">
                    <a16:creationId xmlns:a16="http://schemas.microsoft.com/office/drawing/2014/main" id="{2C969F74-C7AC-47E3-B01E-5C27AB1A2A92}"/>
                  </a:ext>
                </a:extLst>
              </p:cNvPr>
              <p:cNvSpPr>
                <a:spLocks/>
              </p:cNvSpPr>
              <p:nvPr/>
            </p:nvSpPr>
            <p:spPr bwMode="auto">
              <a:xfrm>
                <a:off x="2246556" y="3296665"/>
                <a:ext cx="42248" cy="65633"/>
              </a:xfrm>
              <a:custGeom>
                <a:avLst/>
                <a:gdLst>
                  <a:gd name="T0" fmla="*/ 0 w 17"/>
                  <a:gd name="T1" fmla="*/ 14411 h 25"/>
                  <a:gd name="T2" fmla="*/ 14417 w 17"/>
                  <a:gd name="T3" fmla="*/ 28822 h 25"/>
                  <a:gd name="T4" fmla="*/ 28835 w 17"/>
                  <a:gd name="T5" fmla="*/ 43233 h 25"/>
                  <a:gd name="T6" fmla="*/ 28835 w 17"/>
                  <a:gd name="T7" fmla="*/ 28822 h 25"/>
                  <a:gd name="T8" fmla="*/ 14417 w 17"/>
                  <a:gd name="T9" fmla="*/ 0 h 25"/>
                  <a:gd name="T10" fmla="*/ 0 w 17"/>
                  <a:gd name="T11" fmla="*/ 14411 h 25"/>
                  <a:gd name="T12" fmla="*/ 0 60000 65536"/>
                  <a:gd name="T13" fmla="*/ 0 60000 65536"/>
                  <a:gd name="T14" fmla="*/ 0 60000 65536"/>
                  <a:gd name="T15" fmla="*/ 0 60000 65536"/>
                  <a:gd name="T16" fmla="*/ 0 60000 65536"/>
                  <a:gd name="T17" fmla="*/ 0 60000 65536"/>
                  <a:gd name="T18" fmla="*/ 0 w 17"/>
                  <a:gd name="T19" fmla="*/ 0 h 25"/>
                  <a:gd name="T20" fmla="*/ 17 w 17"/>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7" h="25">
                    <a:moveTo>
                      <a:pt x="0" y="8"/>
                    </a:moveTo>
                    <a:lnTo>
                      <a:pt x="8" y="16"/>
                    </a:lnTo>
                    <a:lnTo>
                      <a:pt x="16" y="24"/>
                    </a:lnTo>
                    <a:lnTo>
                      <a:pt x="16" y="16"/>
                    </a:lnTo>
                    <a:lnTo>
                      <a:pt x="8"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1" name="Freeform 455">
                <a:extLst>
                  <a:ext uri="{FF2B5EF4-FFF2-40B4-BE49-F238E27FC236}">
                    <a16:creationId xmlns:a16="http://schemas.microsoft.com/office/drawing/2014/main" id="{FB80D75F-1433-493B-AE07-5006831B7974}"/>
                  </a:ext>
                </a:extLst>
              </p:cNvPr>
              <p:cNvSpPr>
                <a:spLocks/>
              </p:cNvSpPr>
              <p:nvPr/>
            </p:nvSpPr>
            <p:spPr bwMode="auto">
              <a:xfrm>
                <a:off x="2306203" y="3338670"/>
                <a:ext cx="22369" cy="23627"/>
              </a:xfrm>
              <a:custGeom>
                <a:avLst/>
                <a:gdLst>
                  <a:gd name="T0" fmla="*/ 0 w 9"/>
                  <a:gd name="T1" fmla="*/ 14411 h 9"/>
                  <a:gd name="T2" fmla="*/ 0 w 9"/>
                  <a:gd name="T3" fmla="*/ 14411 h 9"/>
                  <a:gd name="T4" fmla="*/ 14418 w 9"/>
                  <a:gd name="T5" fmla="*/ 14411 h 9"/>
                  <a:gd name="T6" fmla="*/ 14418 w 9"/>
                  <a:gd name="T7" fmla="*/ 0 h 9"/>
                  <a:gd name="T8" fmla="*/ 0 w 9"/>
                  <a:gd name="T9" fmla="*/ 0 h 9"/>
                  <a:gd name="T10" fmla="*/ 0 w 9"/>
                  <a:gd name="T11" fmla="*/ 1441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0" y="8"/>
                    </a:moveTo>
                    <a:lnTo>
                      <a:pt x="0" y="8"/>
                    </a:lnTo>
                    <a:lnTo>
                      <a:pt x="8" y="8"/>
                    </a:lnTo>
                    <a:lnTo>
                      <a:pt x="8" y="0"/>
                    </a:lnTo>
                    <a:lnTo>
                      <a:pt x="0"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2" name="Freeform 456">
                <a:extLst>
                  <a:ext uri="{FF2B5EF4-FFF2-40B4-BE49-F238E27FC236}">
                    <a16:creationId xmlns:a16="http://schemas.microsoft.com/office/drawing/2014/main" id="{2E6EC032-B948-4625-A781-97148175FC82}"/>
                  </a:ext>
                </a:extLst>
              </p:cNvPr>
              <p:cNvSpPr>
                <a:spLocks/>
              </p:cNvSpPr>
              <p:nvPr/>
            </p:nvSpPr>
            <p:spPr bwMode="auto">
              <a:xfrm>
                <a:off x="2306203" y="3338670"/>
                <a:ext cx="22369" cy="23627"/>
              </a:xfrm>
              <a:custGeom>
                <a:avLst/>
                <a:gdLst>
                  <a:gd name="T0" fmla="*/ 0 w 9"/>
                  <a:gd name="T1" fmla="*/ 14411 h 9"/>
                  <a:gd name="T2" fmla="*/ 14418 w 9"/>
                  <a:gd name="T3" fmla="*/ 14411 h 9"/>
                  <a:gd name="T4" fmla="*/ 14418 w 9"/>
                  <a:gd name="T5" fmla="*/ 0 h 9"/>
                  <a:gd name="T6" fmla="*/ 0 w 9"/>
                  <a:gd name="T7" fmla="*/ 0 h 9"/>
                  <a:gd name="T8" fmla="*/ 0 w 9"/>
                  <a:gd name="T9" fmla="*/ 14411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0" y="8"/>
                    </a:moveTo>
                    <a:lnTo>
                      <a:pt x="8" y="8"/>
                    </a:lnTo>
                    <a:lnTo>
                      <a:pt x="8" y="0"/>
                    </a:lnTo>
                    <a:lnTo>
                      <a:pt x="0"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3" name="Freeform 457">
                <a:extLst>
                  <a:ext uri="{FF2B5EF4-FFF2-40B4-BE49-F238E27FC236}">
                    <a16:creationId xmlns:a16="http://schemas.microsoft.com/office/drawing/2014/main" id="{8E944544-6A67-4BBB-8A99-344E6F55D572}"/>
                  </a:ext>
                </a:extLst>
              </p:cNvPr>
              <p:cNvSpPr>
                <a:spLocks/>
              </p:cNvSpPr>
              <p:nvPr/>
            </p:nvSpPr>
            <p:spPr bwMode="auto">
              <a:xfrm>
                <a:off x="2664070" y="3191654"/>
                <a:ext cx="201302" cy="254650"/>
              </a:xfrm>
              <a:custGeom>
                <a:avLst/>
                <a:gdLst>
                  <a:gd name="T0" fmla="*/ 0 w 81"/>
                  <a:gd name="T1" fmla="*/ 100876 h 97"/>
                  <a:gd name="T2" fmla="*/ 0 w 81"/>
                  <a:gd name="T3" fmla="*/ 100876 h 97"/>
                  <a:gd name="T4" fmla="*/ 0 w 81"/>
                  <a:gd name="T5" fmla="*/ 115287 h 97"/>
                  <a:gd name="T6" fmla="*/ 14417 w 81"/>
                  <a:gd name="T7" fmla="*/ 115287 h 97"/>
                  <a:gd name="T8" fmla="*/ 14417 w 81"/>
                  <a:gd name="T9" fmla="*/ 129698 h 97"/>
                  <a:gd name="T10" fmla="*/ 14417 w 81"/>
                  <a:gd name="T11" fmla="*/ 172931 h 97"/>
                  <a:gd name="T12" fmla="*/ 28835 w 81"/>
                  <a:gd name="T13" fmla="*/ 158520 h 97"/>
                  <a:gd name="T14" fmla="*/ 28835 w 81"/>
                  <a:gd name="T15" fmla="*/ 115287 h 97"/>
                  <a:gd name="T16" fmla="*/ 43252 w 81"/>
                  <a:gd name="T17" fmla="*/ 100876 h 97"/>
                  <a:gd name="T18" fmla="*/ 57670 w 81"/>
                  <a:gd name="T19" fmla="*/ 100876 h 97"/>
                  <a:gd name="T20" fmla="*/ 43252 w 81"/>
                  <a:gd name="T21" fmla="*/ 115287 h 97"/>
                  <a:gd name="T22" fmla="*/ 57670 w 81"/>
                  <a:gd name="T23" fmla="*/ 129698 h 97"/>
                  <a:gd name="T24" fmla="*/ 57670 w 81"/>
                  <a:gd name="T25" fmla="*/ 144109 h 97"/>
                  <a:gd name="T26" fmla="*/ 86504 w 81"/>
                  <a:gd name="T27" fmla="*/ 144109 h 97"/>
                  <a:gd name="T28" fmla="*/ 86504 w 81"/>
                  <a:gd name="T29" fmla="*/ 172931 h 97"/>
                  <a:gd name="T30" fmla="*/ 100922 w 81"/>
                  <a:gd name="T31" fmla="*/ 158520 h 97"/>
                  <a:gd name="T32" fmla="*/ 100922 w 81"/>
                  <a:gd name="T33" fmla="*/ 144109 h 97"/>
                  <a:gd name="T34" fmla="*/ 72087 w 81"/>
                  <a:gd name="T35" fmla="*/ 115287 h 97"/>
                  <a:gd name="T36" fmla="*/ 86504 w 81"/>
                  <a:gd name="T37" fmla="*/ 115287 h 97"/>
                  <a:gd name="T38" fmla="*/ 57670 w 81"/>
                  <a:gd name="T39" fmla="*/ 86465 h 97"/>
                  <a:gd name="T40" fmla="*/ 86504 w 81"/>
                  <a:gd name="T41" fmla="*/ 57644 h 97"/>
                  <a:gd name="T42" fmla="*/ 100922 w 81"/>
                  <a:gd name="T43" fmla="*/ 57644 h 97"/>
                  <a:gd name="T44" fmla="*/ 43252 w 81"/>
                  <a:gd name="T45" fmla="*/ 72054 h 97"/>
                  <a:gd name="T46" fmla="*/ 28835 w 81"/>
                  <a:gd name="T47" fmla="*/ 57644 h 97"/>
                  <a:gd name="T48" fmla="*/ 28835 w 81"/>
                  <a:gd name="T49" fmla="*/ 43233 h 97"/>
                  <a:gd name="T50" fmla="*/ 43252 w 81"/>
                  <a:gd name="T51" fmla="*/ 28822 h 97"/>
                  <a:gd name="T52" fmla="*/ 129756 w 81"/>
                  <a:gd name="T53" fmla="*/ 28822 h 97"/>
                  <a:gd name="T54" fmla="*/ 144174 w 81"/>
                  <a:gd name="T55" fmla="*/ 0 h 97"/>
                  <a:gd name="T56" fmla="*/ 115339 w 81"/>
                  <a:gd name="T57" fmla="*/ 14411 h 97"/>
                  <a:gd name="T58" fmla="*/ 86504 w 81"/>
                  <a:gd name="T59" fmla="*/ 28822 h 97"/>
                  <a:gd name="T60" fmla="*/ 43252 w 81"/>
                  <a:gd name="T61" fmla="*/ 14411 h 97"/>
                  <a:gd name="T62" fmla="*/ 43252 w 81"/>
                  <a:gd name="T63" fmla="*/ 28822 h 97"/>
                  <a:gd name="T64" fmla="*/ 28835 w 81"/>
                  <a:gd name="T65" fmla="*/ 28822 h 97"/>
                  <a:gd name="T66" fmla="*/ 28835 w 81"/>
                  <a:gd name="T67" fmla="*/ 57644 h 97"/>
                  <a:gd name="T68" fmla="*/ 0 w 81"/>
                  <a:gd name="T69" fmla="*/ 100876 h 9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1"/>
                  <a:gd name="T106" fmla="*/ 0 h 97"/>
                  <a:gd name="T107" fmla="*/ 81 w 81"/>
                  <a:gd name="T108" fmla="*/ 97 h 9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1" h="97">
                    <a:moveTo>
                      <a:pt x="0" y="56"/>
                    </a:moveTo>
                    <a:lnTo>
                      <a:pt x="0" y="56"/>
                    </a:lnTo>
                    <a:lnTo>
                      <a:pt x="0" y="64"/>
                    </a:lnTo>
                    <a:lnTo>
                      <a:pt x="8" y="64"/>
                    </a:lnTo>
                    <a:lnTo>
                      <a:pt x="8" y="72"/>
                    </a:lnTo>
                    <a:lnTo>
                      <a:pt x="8" y="96"/>
                    </a:lnTo>
                    <a:lnTo>
                      <a:pt x="16" y="88"/>
                    </a:lnTo>
                    <a:lnTo>
                      <a:pt x="16" y="64"/>
                    </a:lnTo>
                    <a:lnTo>
                      <a:pt x="24" y="56"/>
                    </a:lnTo>
                    <a:lnTo>
                      <a:pt x="32" y="56"/>
                    </a:lnTo>
                    <a:lnTo>
                      <a:pt x="24" y="64"/>
                    </a:lnTo>
                    <a:lnTo>
                      <a:pt x="32" y="72"/>
                    </a:lnTo>
                    <a:lnTo>
                      <a:pt x="32" y="80"/>
                    </a:lnTo>
                    <a:lnTo>
                      <a:pt x="48" y="80"/>
                    </a:lnTo>
                    <a:lnTo>
                      <a:pt x="48" y="96"/>
                    </a:lnTo>
                    <a:lnTo>
                      <a:pt x="56" y="88"/>
                    </a:lnTo>
                    <a:lnTo>
                      <a:pt x="56" y="80"/>
                    </a:lnTo>
                    <a:lnTo>
                      <a:pt x="40" y="64"/>
                    </a:lnTo>
                    <a:lnTo>
                      <a:pt x="48" y="64"/>
                    </a:lnTo>
                    <a:lnTo>
                      <a:pt x="32" y="48"/>
                    </a:lnTo>
                    <a:lnTo>
                      <a:pt x="48" y="32"/>
                    </a:lnTo>
                    <a:lnTo>
                      <a:pt x="56" y="32"/>
                    </a:lnTo>
                    <a:lnTo>
                      <a:pt x="24" y="40"/>
                    </a:lnTo>
                    <a:lnTo>
                      <a:pt x="16" y="32"/>
                    </a:lnTo>
                    <a:lnTo>
                      <a:pt x="16" y="24"/>
                    </a:lnTo>
                    <a:lnTo>
                      <a:pt x="24" y="16"/>
                    </a:lnTo>
                    <a:lnTo>
                      <a:pt x="72" y="16"/>
                    </a:lnTo>
                    <a:lnTo>
                      <a:pt x="80" y="0"/>
                    </a:lnTo>
                    <a:lnTo>
                      <a:pt x="64" y="8"/>
                    </a:lnTo>
                    <a:lnTo>
                      <a:pt x="48" y="16"/>
                    </a:lnTo>
                    <a:lnTo>
                      <a:pt x="24" y="8"/>
                    </a:lnTo>
                    <a:lnTo>
                      <a:pt x="24" y="16"/>
                    </a:lnTo>
                    <a:lnTo>
                      <a:pt x="16" y="16"/>
                    </a:lnTo>
                    <a:lnTo>
                      <a:pt x="16" y="32"/>
                    </a:lnTo>
                    <a:lnTo>
                      <a:pt x="0" y="56"/>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4" name="Freeform 458">
                <a:extLst>
                  <a:ext uri="{FF2B5EF4-FFF2-40B4-BE49-F238E27FC236}">
                    <a16:creationId xmlns:a16="http://schemas.microsoft.com/office/drawing/2014/main" id="{00E44D30-FC8C-4FAF-880B-6D8A978FD513}"/>
                  </a:ext>
                </a:extLst>
              </p:cNvPr>
              <p:cNvSpPr>
                <a:spLocks/>
              </p:cNvSpPr>
              <p:nvPr/>
            </p:nvSpPr>
            <p:spPr bwMode="auto">
              <a:xfrm>
                <a:off x="2664070" y="3191654"/>
                <a:ext cx="201302" cy="254650"/>
              </a:xfrm>
              <a:custGeom>
                <a:avLst/>
                <a:gdLst>
                  <a:gd name="T0" fmla="*/ 0 w 81"/>
                  <a:gd name="T1" fmla="*/ 100876 h 97"/>
                  <a:gd name="T2" fmla="*/ 0 w 81"/>
                  <a:gd name="T3" fmla="*/ 115287 h 97"/>
                  <a:gd name="T4" fmla="*/ 14417 w 81"/>
                  <a:gd name="T5" fmla="*/ 115287 h 97"/>
                  <a:gd name="T6" fmla="*/ 14417 w 81"/>
                  <a:gd name="T7" fmla="*/ 129698 h 97"/>
                  <a:gd name="T8" fmla="*/ 14417 w 81"/>
                  <a:gd name="T9" fmla="*/ 172931 h 97"/>
                  <a:gd name="T10" fmla="*/ 28835 w 81"/>
                  <a:gd name="T11" fmla="*/ 158520 h 97"/>
                  <a:gd name="T12" fmla="*/ 28835 w 81"/>
                  <a:gd name="T13" fmla="*/ 115287 h 97"/>
                  <a:gd name="T14" fmla="*/ 43252 w 81"/>
                  <a:gd name="T15" fmla="*/ 100876 h 97"/>
                  <a:gd name="T16" fmla="*/ 57670 w 81"/>
                  <a:gd name="T17" fmla="*/ 100876 h 97"/>
                  <a:gd name="T18" fmla="*/ 43252 w 81"/>
                  <a:gd name="T19" fmla="*/ 115287 h 97"/>
                  <a:gd name="T20" fmla="*/ 57670 w 81"/>
                  <a:gd name="T21" fmla="*/ 129698 h 97"/>
                  <a:gd name="T22" fmla="*/ 57670 w 81"/>
                  <a:gd name="T23" fmla="*/ 144109 h 97"/>
                  <a:gd name="T24" fmla="*/ 86504 w 81"/>
                  <a:gd name="T25" fmla="*/ 144109 h 97"/>
                  <a:gd name="T26" fmla="*/ 86504 w 81"/>
                  <a:gd name="T27" fmla="*/ 172931 h 97"/>
                  <a:gd name="T28" fmla="*/ 100922 w 81"/>
                  <a:gd name="T29" fmla="*/ 158520 h 97"/>
                  <a:gd name="T30" fmla="*/ 100922 w 81"/>
                  <a:gd name="T31" fmla="*/ 144109 h 97"/>
                  <a:gd name="T32" fmla="*/ 72087 w 81"/>
                  <a:gd name="T33" fmla="*/ 115287 h 97"/>
                  <a:gd name="T34" fmla="*/ 86504 w 81"/>
                  <a:gd name="T35" fmla="*/ 115287 h 97"/>
                  <a:gd name="T36" fmla="*/ 57670 w 81"/>
                  <a:gd name="T37" fmla="*/ 86465 h 97"/>
                  <a:gd name="T38" fmla="*/ 86504 w 81"/>
                  <a:gd name="T39" fmla="*/ 57644 h 97"/>
                  <a:gd name="T40" fmla="*/ 100922 w 81"/>
                  <a:gd name="T41" fmla="*/ 57644 h 97"/>
                  <a:gd name="T42" fmla="*/ 43252 w 81"/>
                  <a:gd name="T43" fmla="*/ 72054 h 97"/>
                  <a:gd name="T44" fmla="*/ 28835 w 81"/>
                  <a:gd name="T45" fmla="*/ 57644 h 97"/>
                  <a:gd name="T46" fmla="*/ 28835 w 81"/>
                  <a:gd name="T47" fmla="*/ 43233 h 97"/>
                  <a:gd name="T48" fmla="*/ 43252 w 81"/>
                  <a:gd name="T49" fmla="*/ 28822 h 97"/>
                  <a:gd name="T50" fmla="*/ 129756 w 81"/>
                  <a:gd name="T51" fmla="*/ 28822 h 97"/>
                  <a:gd name="T52" fmla="*/ 144174 w 81"/>
                  <a:gd name="T53" fmla="*/ 0 h 97"/>
                  <a:gd name="T54" fmla="*/ 115339 w 81"/>
                  <a:gd name="T55" fmla="*/ 14411 h 97"/>
                  <a:gd name="T56" fmla="*/ 86504 w 81"/>
                  <a:gd name="T57" fmla="*/ 28822 h 97"/>
                  <a:gd name="T58" fmla="*/ 43252 w 81"/>
                  <a:gd name="T59" fmla="*/ 14411 h 97"/>
                  <a:gd name="T60" fmla="*/ 43252 w 81"/>
                  <a:gd name="T61" fmla="*/ 28822 h 97"/>
                  <a:gd name="T62" fmla="*/ 28835 w 81"/>
                  <a:gd name="T63" fmla="*/ 28822 h 97"/>
                  <a:gd name="T64" fmla="*/ 28835 w 81"/>
                  <a:gd name="T65" fmla="*/ 57644 h 97"/>
                  <a:gd name="T66" fmla="*/ 0 w 81"/>
                  <a:gd name="T67" fmla="*/ 100876 h 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1"/>
                  <a:gd name="T103" fmla="*/ 0 h 97"/>
                  <a:gd name="T104" fmla="*/ 81 w 81"/>
                  <a:gd name="T105" fmla="*/ 97 h 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1" h="97">
                    <a:moveTo>
                      <a:pt x="0" y="56"/>
                    </a:moveTo>
                    <a:lnTo>
                      <a:pt x="0" y="64"/>
                    </a:lnTo>
                    <a:lnTo>
                      <a:pt x="8" y="64"/>
                    </a:lnTo>
                    <a:lnTo>
                      <a:pt x="8" y="72"/>
                    </a:lnTo>
                    <a:lnTo>
                      <a:pt x="8" y="96"/>
                    </a:lnTo>
                    <a:lnTo>
                      <a:pt x="16" y="88"/>
                    </a:lnTo>
                    <a:lnTo>
                      <a:pt x="16" y="64"/>
                    </a:lnTo>
                    <a:lnTo>
                      <a:pt x="24" y="56"/>
                    </a:lnTo>
                    <a:lnTo>
                      <a:pt x="32" y="56"/>
                    </a:lnTo>
                    <a:lnTo>
                      <a:pt x="24" y="64"/>
                    </a:lnTo>
                    <a:lnTo>
                      <a:pt x="32" y="72"/>
                    </a:lnTo>
                    <a:lnTo>
                      <a:pt x="32" y="80"/>
                    </a:lnTo>
                    <a:lnTo>
                      <a:pt x="48" y="80"/>
                    </a:lnTo>
                    <a:lnTo>
                      <a:pt x="48" y="96"/>
                    </a:lnTo>
                    <a:lnTo>
                      <a:pt x="56" y="88"/>
                    </a:lnTo>
                    <a:lnTo>
                      <a:pt x="56" y="80"/>
                    </a:lnTo>
                    <a:lnTo>
                      <a:pt x="40" y="64"/>
                    </a:lnTo>
                    <a:lnTo>
                      <a:pt x="48" y="64"/>
                    </a:lnTo>
                    <a:lnTo>
                      <a:pt x="32" y="48"/>
                    </a:lnTo>
                    <a:lnTo>
                      <a:pt x="48" y="32"/>
                    </a:lnTo>
                    <a:lnTo>
                      <a:pt x="56" y="32"/>
                    </a:lnTo>
                    <a:lnTo>
                      <a:pt x="24" y="40"/>
                    </a:lnTo>
                    <a:lnTo>
                      <a:pt x="16" y="32"/>
                    </a:lnTo>
                    <a:lnTo>
                      <a:pt x="16" y="24"/>
                    </a:lnTo>
                    <a:lnTo>
                      <a:pt x="24" y="16"/>
                    </a:lnTo>
                    <a:lnTo>
                      <a:pt x="72" y="16"/>
                    </a:lnTo>
                    <a:lnTo>
                      <a:pt x="80" y="0"/>
                    </a:lnTo>
                    <a:lnTo>
                      <a:pt x="64" y="8"/>
                    </a:lnTo>
                    <a:lnTo>
                      <a:pt x="48" y="16"/>
                    </a:lnTo>
                    <a:lnTo>
                      <a:pt x="24" y="8"/>
                    </a:lnTo>
                    <a:lnTo>
                      <a:pt x="24" y="16"/>
                    </a:lnTo>
                    <a:lnTo>
                      <a:pt x="16" y="16"/>
                    </a:lnTo>
                    <a:lnTo>
                      <a:pt x="16" y="32"/>
                    </a:lnTo>
                    <a:lnTo>
                      <a:pt x="0" y="56"/>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5" name="Freeform 459">
                <a:extLst>
                  <a:ext uri="{FF2B5EF4-FFF2-40B4-BE49-F238E27FC236}">
                    <a16:creationId xmlns:a16="http://schemas.microsoft.com/office/drawing/2014/main" id="{1B28F81D-5C39-448B-905E-511CE3DBDD49}"/>
                  </a:ext>
                </a:extLst>
              </p:cNvPr>
              <p:cNvSpPr>
                <a:spLocks/>
              </p:cNvSpPr>
              <p:nvPr/>
            </p:nvSpPr>
            <p:spPr bwMode="auto">
              <a:xfrm>
                <a:off x="2922532" y="3170654"/>
                <a:ext cx="42248" cy="107636"/>
              </a:xfrm>
              <a:custGeom>
                <a:avLst/>
                <a:gdLst>
                  <a:gd name="T0" fmla="*/ 0 w 17"/>
                  <a:gd name="T1" fmla="*/ 28822 h 41"/>
                  <a:gd name="T2" fmla="*/ 0 w 17"/>
                  <a:gd name="T3" fmla="*/ 28822 h 41"/>
                  <a:gd name="T4" fmla="*/ 14417 w 17"/>
                  <a:gd name="T5" fmla="*/ 57644 h 41"/>
                  <a:gd name="T6" fmla="*/ 28835 w 17"/>
                  <a:gd name="T7" fmla="*/ 72055 h 41"/>
                  <a:gd name="T8" fmla="*/ 14417 w 17"/>
                  <a:gd name="T9" fmla="*/ 57644 h 41"/>
                  <a:gd name="T10" fmla="*/ 14417 w 17"/>
                  <a:gd name="T11" fmla="*/ 43233 h 41"/>
                  <a:gd name="T12" fmla="*/ 28835 w 17"/>
                  <a:gd name="T13" fmla="*/ 43233 h 41"/>
                  <a:gd name="T14" fmla="*/ 28835 w 17"/>
                  <a:gd name="T15" fmla="*/ 28822 h 41"/>
                  <a:gd name="T16" fmla="*/ 28835 w 17"/>
                  <a:gd name="T17" fmla="*/ 14411 h 41"/>
                  <a:gd name="T18" fmla="*/ 28835 w 17"/>
                  <a:gd name="T19" fmla="*/ 28822 h 41"/>
                  <a:gd name="T20" fmla="*/ 14417 w 17"/>
                  <a:gd name="T21" fmla="*/ 0 h 41"/>
                  <a:gd name="T22" fmla="*/ 0 w 17"/>
                  <a:gd name="T23" fmla="*/ 28822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41"/>
                  <a:gd name="T38" fmla="*/ 17 w 17"/>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41">
                    <a:moveTo>
                      <a:pt x="0" y="16"/>
                    </a:moveTo>
                    <a:lnTo>
                      <a:pt x="0" y="16"/>
                    </a:lnTo>
                    <a:lnTo>
                      <a:pt x="8" y="32"/>
                    </a:lnTo>
                    <a:lnTo>
                      <a:pt x="16" y="40"/>
                    </a:lnTo>
                    <a:lnTo>
                      <a:pt x="8" y="32"/>
                    </a:lnTo>
                    <a:lnTo>
                      <a:pt x="8" y="24"/>
                    </a:lnTo>
                    <a:lnTo>
                      <a:pt x="16" y="24"/>
                    </a:lnTo>
                    <a:lnTo>
                      <a:pt x="16" y="16"/>
                    </a:lnTo>
                    <a:lnTo>
                      <a:pt x="16" y="8"/>
                    </a:lnTo>
                    <a:lnTo>
                      <a:pt x="16" y="16"/>
                    </a:lnTo>
                    <a:lnTo>
                      <a:pt x="8" y="0"/>
                    </a:lnTo>
                    <a:lnTo>
                      <a:pt x="0" y="16"/>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6" name="Freeform 460">
                <a:extLst>
                  <a:ext uri="{FF2B5EF4-FFF2-40B4-BE49-F238E27FC236}">
                    <a16:creationId xmlns:a16="http://schemas.microsoft.com/office/drawing/2014/main" id="{B191BED9-CFAE-4A7E-8C77-A4F491B98A1C}"/>
                  </a:ext>
                </a:extLst>
              </p:cNvPr>
              <p:cNvSpPr>
                <a:spLocks/>
              </p:cNvSpPr>
              <p:nvPr/>
            </p:nvSpPr>
            <p:spPr bwMode="auto">
              <a:xfrm>
                <a:off x="2922532" y="3170654"/>
                <a:ext cx="42248" cy="107636"/>
              </a:xfrm>
              <a:custGeom>
                <a:avLst/>
                <a:gdLst>
                  <a:gd name="T0" fmla="*/ 0 w 17"/>
                  <a:gd name="T1" fmla="*/ 28822 h 41"/>
                  <a:gd name="T2" fmla="*/ 14417 w 17"/>
                  <a:gd name="T3" fmla="*/ 57644 h 41"/>
                  <a:gd name="T4" fmla="*/ 28835 w 17"/>
                  <a:gd name="T5" fmla="*/ 72055 h 41"/>
                  <a:gd name="T6" fmla="*/ 14417 w 17"/>
                  <a:gd name="T7" fmla="*/ 57644 h 41"/>
                  <a:gd name="T8" fmla="*/ 14417 w 17"/>
                  <a:gd name="T9" fmla="*/ 43233 h 41"/>
                  <a:gd name="T10" fmla="*/ 28835 w 17"/>
                  <a:gd name="T11" fmla="*/ 43233 h 41"/>
                  <a:gd name="T12" fmla="*/ 28835 w 17"/>
                  <a:gd name="T13" fmla="*/ 28822 h 41"/>
                  <a:gd name="T14" fmla="*/ 28835 w 17"/>
                  <a:gd name="T15" fmla="*/ 14411 h 41"/>
                  <a:gd name="T16" fmla="*/ 28835 w 17"/>
                  <a:gd name="T17" fmla="*/ 28822 h 41"/>
                  <a:gd name="T18" fmla="*/ 14417 w 17"/>
                  <a:gd name="T19" fmla="*/ 0 h 41"/>
                  <a:gd name="T20" fmla="*/ 0 w 17"/>
                  <a:gd name="T21" fmla="*/ 28822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6"/>
                    </a:moveTo>
                    <a:lnTo>
                      <a:pt x="8" y="32"/>
                    </a:lnTo>
                    <a:lnTo>
                      <a:pt x="16" y="40"/>
                    </a:lnTo>
                    <a:lnTo>
                      <a:pt x="8" y="32"/>
                    </a:lnTo>
                    <a:lnTo>
                      <a:pt x="8" y="24"/>
                    </a:lnTo>
                    <a:lnTo>
                      <a:pt x="16" y="24"/>
                    </a:lnTo>
                    <a:lnTo>
                      <a:pt x="16" y="16"/>
                    </a:lnTo>
                    <a:lnTo>
                      <a:pt x="16" y="8"/>
                    </a:lnTo>
                    <a:lnTo>
                      <a:pt x="16" y="16"/>
                    </a:lnTo>
                    <a:lnTo>
                      <a:pt x="8" y="0"/>
                    </a:lnTo>
                    <a:lnTo>
                      <a:pt x="0" y="16"/>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7" name="Freeform 461">
                <a:extLst>
                  <a:ext uri="{FF2B5EF4-FFF2-40B4-BE49-F238E27FC236}">
                    <a16:creationId xmlns:a16="http://schemas.microsoft.com/office/drawing/2014/main" id="{814EEF20-E2FB-431B-B840-91C43AE09167}"/>
                  </a:ext>
                </a:extLst>
              </p:cNvPr>
              <p:cNvSpPr>
                <a:spLocks/>
              </p:cNvSpPr>
              <p:nvPr/>
            </p:nvSpPr>
            <p:spPr bwMode="auto">
              <a:xfrm>
                <a:off x="2882768" y="3359671"/>
                <a:ext cx="42248" cy="23627"/>
              </a:xfrm>
              <a:custGeom>
                <a:avLst/>
                <a:gdLst>
                  <a:gd name="T0" fmla="*/ 0 w 17"/>
                  <a:gd name="T1" fmla="*/ 0 h 9"/>
                  <a:gd name="T2" fmla="*/ 0 w 17"/>
                  <a:gd name="T3" fmla="*/ 0 h 9"/>
                  <a:gd name="T4" fmla="*/ 28835 w 17"/>
                  <a:gd name="T5" fmla="*/ 14411 h 9"/>
                  <a:gd name="T6" fmla="*/ 28835 w 17"/>
                  <a:gd name="T7" fmla="*/ 0 h 9"/>
                  <a:gd name="T8" fmla="*/ 0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0" y="0"/>
                    </a:moveTo>
                    <a:lnTo>
                      <a:pt x="0" y="0"/>
                    </a:lnTo>
                    <a:lnTo>
                      <a:pt x="16" y="8"/>
                    </a:lnTo>
                    <a:lnTo>
                      <a:pt x="16" y="0"/>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8" name="Freeform 462">
                <a:extLst>
                  <a:ext uri="{FF2B5EF4-FFF2-40B4-BE49-F238E27FC236}">
                    <a16:creationId xmlns:a16="http://schemas.microsoft.com/office/drawing/2014/main" id="{3E8DEF29-1D30-41AA-B749-D3360CE9B243}"/>
                  </a:ext>
                </a:extLst>
              </p:cNvPr>
              <p:cNvSpPr>
                <a:spLocks/>
              </p:cNvSpPr>
              <p:nvPr/>
            </p:nvSpPr>
            <p:spPr bwMode="auto">
              <a:xfrm>
                <a:off x="2882768" y="3359671"/>
                <a:ext cx="42248" cy="23627"/>
              </a:xfrm>
              <a:custGeom>
                <a:avLst/>
                <a:gdLst>
                  <a:gd name="T0" fmla="*/ 0 w 17"/>
                  <a:gd name="T1" fmla="*/ 0 h 9"/>
                  <a:gd name="T2" fmla="*/ 28835 w 17"/>
                  <a:gd name="T3" fmla="*/ 14411 h 9"/>
                  <a:gd name="T4" fmla="*/ 28835 w 17"/>
                  <a:gd name="T5" fmla="*/ 0 h 9"/>
                  <a:gd name="T6" fmla="*/ 0 w 17"/>
                  <a:gd name="T7" fmla="*/ 0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0" y="0"/>
                    </a:moveTo>
                    <a:lnTo>
                      <a:pt x="16" y="8"/>
                    </a:lnTo>
                    <a:lnTo>
                      <a:pt x="16" y="0"/>
                    </a:lnTo>
                    <a:lnTo>
                      <a:pt x="0" y="0"/>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19" name="Freeform 463">
                <a:extLst>
                  <a:ext uri="{FF2B5EF4-FFF2-40B4-BE49-F238E27FC236}">
                    <a16:creationId xmlns:a16="http://schemas.microsoft.com/office/drawing/2014/main" id="{42C50348-65AD-49F4-BD6A-ED8055DE3BA0}"/>
                  </a:ext>
                </a:extLst>
              </p:cNvPr>
              <p:cNvSpPr>
                <a:spLocks/>
              </p:cNvSpPr>
              <p:nvPr/>
            </p:nvSpPr>
            <p:spPr bwMode="auto">
              <a:xfrm>
                <a:off x="2942413" y="3338670"/>
                <a:ext cx="101894" cy="44629"/>
              </a:xfrm>
              <a:custGeom>
                <a:avLst/>
                <a:gdLst>
                  <a:gd name="T0" fmla="*/ 0 w 41"/>
                  <a:gd name="T1" fmla="*/ 14411 h 17"/>
                  <a:gd name="T2" fmla="*/ 0 w 41"/>
                  <a:gd name="T3" fmla="*/ 14411 h 17"/>
                  <a:gd name="T4" fmla="*/ 72087 w 41"/>
                  <a:gd name="T5" fmla="*/ 28822 h 17"/>
                  <a:gd name="T6" fmla="*/ 57669 w 41"/>
                  <a:gd name="T7" fmla="*/ 14411 h 17"/>
                  <a:gd name="T8" fmla="*/ 43252 w 41"/>
                  <a:gd name="T9" fmla="*/ 0 h 17"/>
                  <a:gd name="T10" fmla="*/ 14417 w 41"/>
                  <a:gd name="T11" fmla="*/ 0 h 17"/>
                  <a:gd name="T12" fmla="*/ 0 w 41"/>
                  <a:gd name="T13" fmla="*/ 14411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0" y="8"/>
                    </a:moveTo>
                    <a:lnTo>
                      <a:pt x="0" y="8"/>
                    </a:lnTo>
                    <a:lnTo>
                      <a:pt x="40" y="16"/>
                    </a:lnTo>
                    <a:lnTo>
                      <a:pt x="32" y="8"/>
                    </a:lnTo>
                    <a:lnTo>
                      <a:pt x="24" y="0"/>
                    </a:lnTo>
                    <a:lnTo>
                      <a:pt x="8" y="0"/>
                    </a:lnTo>
                    <a:lnTo>
                      <a:pt x="0" y="8"/>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0" name="Freeform 464">
                <a:extLst>
                  <a:ext uri="{FF2B5EF4-FFF2-40B4-BE49-F238E27FC236}">
                    <a16:creationId xmlns:a16="http://schemas.microsoft.com/office/drawing/2014/main" id="{BB6367DC-28B3-4F29-9A08-C88173C8D226}"/>
                  </a:ext>
                </a:extLst>
              </p:cNvPr>
              <p:cNvSpPr>
                <a:spLocks/>
              </p:cNvSpPr>
              <p:nvPr/>
            </p:nvSpPr>
            <p:spPr bwMode="auto">
              <a:xfrm>
                <a:off x="2942413" y="3338670"/>
                <a:ext cx="101894" cy="44629"/>
              </a:xfrm>
              <a:custGeom>
                <a:avLst/>
                <a:gdLst>
                  <a:gd name="T0" fmla="*/ 0 w 41"/>
                  <a:gd name="T1" fmla="*/ 14411 h 17"/>
                  <a:gd name="T2" fmla="*/ 72087 w 41"/>
                  <a:gd name="T3" fmla="*/ 28822 h 17"/>
                  <a:gd name="T4" fmla="*/ 57669 w 41"/>
                  <a:gd name="T5" fmla="*/ 14411 h 17"/>
                  <a:gd name="T6" fmla="*/ 43252 w 41"/>
                  <a:gd name="T7" fmla="*/ 0 h 17"/>
                  <a:gd name="T8" fmla="*/ 14417 w 41"/>
                  <a:gd name="T9" fmla="*/ 0 h 17"/>
                  <a:gd name="T10" fmla="*/ 0 w 41"/>
                  <a:gd name="T11" fmla="*/ 14411 h 17"/>
                  <a:gd name="T12" fmla="*/ 0 60000 65536"/>
                  <a:gd name="T13" fmla="*/ 0 60000 65536"/>
                  <a:gd name="T14" fmla="*/ 0 60000 65536"/>
                  <a:gd name="T15" fmla="*/ 0 60000 65536"/>
                  <a:gd name="T16" fmla="*/ 0 60000 65536"/>
                  <a:gd name="T17" fmla="*/ 0 60000 65536"/>
                  <a:gd name="T18" fmla="*/ 0 w 41"/>
                  <a:gd name="T19" fmla="*/ 0 h 17"/>
                  <a:gd name="T20" fmla="*/ 41 w 4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1" h="17">
                    <a:moveTo>
                      <a:pt x="0" y="8"/>
                    </a:moveTo>
                    <a:lnTo>
                      <a:pt x="40" y="16"/>
                    </a:lnTo>
                    <a:lnTo>
                      <a:pt x="32" y="8"/>
                    </a:lnTo>
                    <a:lnTo>
                      <a:pt x="24" y="0"/>
                    </a:lnTo>
                    <a:lnTo>
                      <a:pt x="8" y="0"/>
                    </a:lnTo>
                    <a:lnTo>
                      <a:pt x="0" y="8"/>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1" name="Freeform 465">
                <a:extLst>
                  <a:ext uri="{FF2B5EF4-FFF2-40B4-BE49-F238E27FC236}">
                    <a16:creationId xmlns:a16="http://schemas.microsoft.com/office/drawing/2014/main" id="{A54D9248-3F35-481C-AA3E-718B4D6C8342}"/>
                  </a:ext>
                </a:extLst>
              </p:cNvPr>
              <p:cNvSpPr>
                <a:spLocks/>
              </p:cNvSpPr>
              <p:nvPr/>
            </p:nvSpPr>
            <p:spPr bwMode="auto">
              <a:xfrm>
                <a:off x="2922532" y="3296665"/>
                <a:ext cx="42248" cy="2624"/>
              </a:xfrm>
              <a:custGeom>
                <a:avLst/>
                <a:gdLst>
                  <a:gd name="T0" fmla="*/ 0 w 17"/>
                  <a:gd name="T1" fmla="*/ 0 h 1"/>
                  <a:gd name="T2" fmla="*/ 0 w 17"/>
                  <a:gd name="T3" fmla="*/ 0 h 1"/>
                  <a:gd name="T4" fmla="*/ 28835 w 17"/>
                  <a:gd name="T5" fmla="*/ 0 h 1"/>
                  <a:gd name="T6" fmla="*/ 14417 w 17"/>
                  <a:gd name="T7" fmla="*/ 0 h 1"/>
                  <a:gd name="T8" fmla="*/ 0 w 17"/>
                  <a:gd name="T9" fmla="*/ 0 h 1"/>
                  <a:gd name="T10" fmla="*/ 0 60000 65536"/>
                  <a:gd name="T11" fmla="*/ 0 60000 65536"/>
                  <a:gd name="T12" fmla="*/ 0 60000 65536"/>
                  <a:gd name="T13" fmla="*/ 0 60000 65536"/>
                  <a:gd name="T14" fmla="*/ 0 60000 65536"/>
                  <a:gd name="T15" fmla="*/ 0 w 17"/>
                  <a:gd name="T16" fmla="*/ 0 h 1"/>
                  <a:gd name="T17" fmla="*/ 17 w 17"/>
                  <a:gd name="T18" fmla="*/ 1 h 1"/>
                </a:gdLst>
                <a:ahLst/>
                <a:cxnLst>
                  <a:cxn ang="T10">
                    <a:pos x="T0" y="T1"/>
                  </a:cxn>
                  <a:cxn ang="T11">
                    <a:pos x="T2" y="T3"/>
                  </a:cxn>
                  <a:cxn ang="T12">
                    <a:pos x="T4" y="T5"/>
                  </a:cxn>
                  <a:cxn ang="T13">
                    <a:pos x="T6" y="T7"/>
                  </a:cxn>
                  <a:cxn ang="T14">
                    <a:pos x="T8" y="T9"/>
                  </a:cxn>
                </a:cxnLst>
                <a:rect l="T15" t="T16" r="T17" b="T18"/>
                <a:pathLst>
                  <a:path w="17" h="1">
                    <a:moveTo>
                      <a:pt x="0" y="0"/>
                    </a:moveTo>
                    <a:lnTo>
                      <a:pt x="0" y="0"/>
                    </a:lnTo>
                    <a:lnTo>
                      <a:pt x="16" y="0"/>
                    </a:lnTo>
                    <a:lnTo>
                      <a:pt x="8" y="0"/>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2" name="Freeform 466">
                <a:extLst>
                  <a:ext uri="{FF2B5EF4-FFF2-40B4-BE49-F238E27FC236}">
                    <a16:creationId xmlns:a16="http://schemas.microsoft.com/office/drawing/2014/main" id="{111843E9-72CB-4172-A8D8-DA6333CCCB96}"/>
                  </a:ext>
                </a:extLst>
              </p:cNvPr>
              <p:cNvSpPr>
                <a:spLocks/>
              </p:cNvSpPr>
              <p:nvPr/>
            </p:nvSpPr>
            <p:spPr bwMode="auto">
              <a:xfrm>
                <a:off x="2922532" y="3296665"/>
                <a:ext cx="42248" cy="2624"/>
              </a:xfrm>
              <a:custGeom>
                <a:avLst/>
                <a:gdLst>
                  <a:gd name="T0" fmla="*/ 0 w 17"/>
                  <a:gd name="T1" fmla="*/ 0 h 1"/>
                  <a:gd name="T2" fmla="*/ 28835 w 17"/>
                  <a:gd name="T3" fmla="*/ 0 h 1"/>
                  <a:gd name="T4" fmla="*/ 14417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1 h 1"/>
                </a:gdLst>
                <a:ahLst/>
                <a:cxnLst>
                  <a:cxn ang="T8">
                    <a:pos x="T0" y="T1"/>
                  </a:cxn>
                  <a:cxn ang="T9">
                    <a:pos x="T2" y="T3"/>
                  </a:cxn>
                  <a:cxn ang="T10">
                    <a:pos x="T4" y="T5"/>
                  </a:cxn>
                  <a:cxn ang="T11">
                    <a:pos x="T6" y="T7"/>
                  </a:cxn>
                </a:cxnLst>
                <a:rect l="T12" t="T13" r="T14" b="T15"/>
                <a:pathLst>
                  <a:path w="17" h="1">
                    <a:moveTo>
                      <a:pt x="0" y="0"/>
                    </a:moveTo>
                    <a:lnTo>
                      <a:pt x="16" y="0"/>
                    </a:lnTo>
                    <a:lnTo>
                      <a:pt x="8" y="0"/>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3" name="Freeform 467">
                <a:extLst>
                  <a:ext uri="{FF2B5EF4-FFF2-40B4-BE49-F238E27FC236}">
                    <a16:creationId xmlns:a16="http://schemas.microsoft.com/office/drawing/2014/main" id="{D74FEFA6-21AB-45D6-BBF0-662B68C65DAA}"/>
                  </a:ext>
                </a:extLst>
              </p:cNvPr>
              <p:cNvSpPr>
                <a:spLocks/>
              </p:cNvSpPr>
              <p:nvPr/>
            </p:nvSpPr>
            <p:spPr bwMode="auto">
              <a:xfrm>
                <a:off x="3180996" y="3275662"/>
                <a:ext cx="22369" cy="23627"/>
              </a:xfrm>
              <a:custGeom>
                <a:avLst/>
                <a:gdLst>
                  <a:gd name="T0" fmla="*/ 0 w 9"/>
                  <a:gd name="T1" fmla="*/ 0 h 9"/>
                  <a:gd name="T2" fmla="*/ 0 w 9"/>
                  <a:gd name="T3" fmla="*/ 0 h 9"/>
                  <a:gd name="T4" fmla="*/ 14418 w 9"/>
                  <a:gd name="T5" fmla="*/ 14411 h 9"/>
                  <a:gd name="T6" fmla="*/ 14418 w 9"/>
                  <a:gd name="T7" fmla="*/ 0 h 9"/>
                  <a:gd name="T8" fmla="*/ 0 w 9"/>
                  <a:gd name="T9" fmla="*/ 0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0" y="0"/>
                    </a:moveTo>
                    <a:lnTo>
                      <a:pt x="0" y="0"/>
                    </a:lnTo>
                    <a:lnTo>
                      <a:pt x="8" y="8"/>
                    </a:lnTo>
                    <a:lnTo>
                      <a:pt x="8" y="0"/>
                    </a:lnTo>
                    <a:lnTo>
                      <a:pt x="0" y="0"/>
                    </a:lnTo>
                  </a:path>
                </a:pathLst>
              </a:custGeom>
              <a:solidFill>
                <a:schemeClr val="tx1"/>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4" name="Freeform 468">
                <a:extLst>
                  <a:ext uri="{FF2B5EF4-FFF2-40B4-BE49-F238E27FC236}">
                    <a16:creationId xmlns:a16="http://schemas.microsoft.com/office/drawing/2014/main" id="{EF1655FB-E293-4CDB-B87A-5B893488232C}"/>
                  </a:ext>
                </a:extLst>
              </p:cNvPr>
              <p:cNvSpPr>
                <a:spLocks/>
              </p:cNvSpPr>
              <p:nvPr/>
            </p:nvSpPr>
            <p:spPr bwMode="auto">
              <a:xfrm>
                <a:off x="3180996" y="3275662"/>
                <a:ext cx="22369" cy="23627"/>
              </a:xfrm>
              <a:custGeom>
                <a:avLst/>
                <a:gdLst>
                  <a:gd name="T0" fmla="*/ 0 w 9"/>
                  <a:gd name="T1" fmla="*/ 0 h 9"/>
                  <a:gd name="T2" fmla="*/ 14418 w 9"/>
                  <a:gd name="T3" fmla="*/ 14411 h 9"/>
                  <a:gd name="T4" fmla="*/ 14418 w 9"/>
                  <a:gd name="T5" fmla="*/ 0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8" y="8"/>
                    </a:lnTo>
                    <a:lnTo>
                      <a:pt x="8" y="0"/>
                    </a:lnTo>
                    <a:lnTo>
                      <a:pt x="0" y="0"/>
                    </a:lnTo>
                  </a:path>
                </a:pathLst>
              </a:custGeom>
              <a:solidFill>
                <a:srgbClr val="0070C0"/>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5" name="Freeform 469">
                <a:extLst>
                  <a:ext uri="{FF2B5EF4-FFF2-40B4-BE49-F238E27FC236}">
                    <a16:creationId xmlns:a16="http://schemas.microsoft.com/office/drawing/2014/main" id="{ACE9DDF9-7CB4-4BA9-A85A-325A104F4031}"/>
                  </a:ext>
                </a:extLst>
              </p:cNvPr>
              <p:cNvSpPr>
                <a:spLocks/>
              </p:cNvSpPr>
              <p:nvPr/>
            </p:nvSpPr>
            <p:spPr bwMode="auto">
              <a:xfrm>
                <a:off x="2703833" y="2624595"/>
                <a:ext cx="121776" cy="191644"/>
              </a:xfrm>
              <a:custGeom>
                <a:avLst/>
                <a:gdLst>
                  <a:gd name="T0" fmla="*/ 0 w 49"/>
                  <a:gd name="T1" fmla="*/ 57644 h 73"/>
                  <a:gd name="T2" fmla="*/ 0 w 49"/>
                  <a:gd name="T3" fmla="*/ 57644 h 73"/>
                  <a:gd name="T4" fmla="*/ 0 w 49"/>
                  <a:gd name="T5" fmla="*/ 86466 h 73"/>
                  <a:gd name="T6" fmla="*/ 14417 w 49"/>
                  <a:gd name="T7" fmla="*/ 100877 h 73"/>
                  <a:gd name="T8" fmla="*/ 14417 w 49"/>
                  <a:gd name="T9" fmla="*/ 115288 h 73"/>
                  <a:gd name="T10" fmla="*/ 28835 w 49"/>
                  <a:gd name="T11" fmla="*/ 115288 h 73"/>
                  <a:gd name="T12" fmla="*/ 43252 w 49"/>
                  <a:gd name="T13" fmla="*/ 115288 h 73"/>
                  <a:gd name="T14" fmla="*/ 57670 w 49"/>
                  <a:gd name="T15" fmla="*/ 129699 h 73"/>
                  <a:gd name="T16" fmla="*/ 57670 w 49"/>
                  <a:gd name="T17" fmla="*/ 115288 h 73"/>
                  <a:gd name="T18" fmla="*/ 72087 w 49"/>
                  <a:gd name="T19" fmla="*/ 129699 h 73"/>
                  <a:gd name="T20" fmla="*/ 86505 w 49"/>
                  <a:gd name="T21" fmla="*/ 129699 h 73"/>
                  <a:gd name="T22" fmla="*/ 72087 w 49"/>
                  <a:gd name="T23" fmla="*/ 115288 h 73"/>
                  <a:gd name="T24" fmla="*/ 86505 w 49"/>
                  <a:gd name="T25" fmla="*/ 115288 h 73"/>
                  <a:gd name="T26" fmla="*/ 57670 w 49"/>
                  <a:gd name="T27" fmla="*/ 100877 h 73"/>
                  <a:gd name="T28" fmla="*/ 43252 w 49"/>
                  <a:gd name="T29" fmla="*/ 115288 h 73"/>
                  <a:gd name="T30" fmla="*/ 28835 w 49"/>
                  <a:gd name="T31" fmla="*/ 86466 h 73"/>
                  <a:gd name="T32" fmla="*/ 57670 w 49"/>
                  <a:gd name="T33" fmla="*/ 43233 h 73"/>
                  <a:gd name="T34" fmla="*/ 43252 w 49"/>
                  <a:gd name="T35" fmla="*/ 28822 h 73"/>
                  <a:gd name="T36" fmla="*/ 57670 w 49"/>
                  <a:gd name="T37" fmla="*/ 0 h 73"/>
                  <a:gd name="T38" fmla="*/ 43252 w 49"/>
                  <a:gd name="T39" fmla="*/ 14411 h 73"/>
                  <a:gd name="T40" fmla="*/ 14417 w 49"/>
                  <a:gd name="T41" fmla="*/ 0 h 73"/>
                  <a:gd name="T42" fmla="*/ 0 w 49"/>
                  <a:gd name="T43" fmla="*/ 57644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73"/>
                  <a:gd name="T68" fmla="*/ 49 w 49"/>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73">
                    <a:moveTo>
                      <a:pt x="0" y="32"/>
                    </a:moveTo>
                    <a:lnTo>
                      <a:pt x="0" y="32"/>
                    </a:lnTo>
                    <a:lnTo>
                      <a:pt x="0" y="48"/>
                    </a:lnTo>
                    <a:lnTo>
                      <a:pt x="8" y="56"/>
                    </a:lnTo>
                    <a:lnTo>
                      <a:pt x="8" y="64"/>
                    </a:lnTo>
                    <a:lnTo>
                      <a:pt x="16" y="64"/>
                    </a:lnTo>
                    <a:lnTo>
                      <a:pt x="24" y="64"/>
                    </a:lnTo>
                    <a:lnTo>
                      <a:pt x="32" y="72"/>
                    </a:lnTo>
                    <a:lnTo>
                      <a:pt x="32" y="64"/>
                    </a:lnTo>
                    <a:lnTo>
                      <a:pt x="40" y="72"/>
                    </a:lnTo>
                    <a:lnTo>
                      <a:pt x="48" y="72"/>
                    </a:lnTo>
                    <a:lnTo>
                      <a:pt x="40" y="64"/>
                    </a:lnTo>
                    <a:lnTo>
                      <a:pt x="48" y="64"/>
                    </a:lnTo>
                    <a:lnTo>
                      <a:pt x="32" y="56"/>
                    </a:lnTo>
                    <a:lnTo>
                      <a:pt x="24" y="64"/>
                    </a:lnTo>
                    <a:lnTo>
                      <a:pt x="16" y="48"/>
                    </a:lnTo>
                    <a:lnTo>
                      <a:pt x="32" y="24"/>
                    </a:lnTo>
                    <a:lnTo>
                      <a:pt x="24" y="16"/>
                    </a:lnTo>
                    <a:lnTo>
                      <a:pt x="32" y="0"/>
                    </a:lnTo>
                    <a:lnTo>
                      <a:pt x="24" y="8"/>
                    </a:lnTo>
                    <a:lnTo>
                      <a:pt x="8" y="0"/>
                    </a:lnTo>
                    <a:lnTo>
                      <a:pt x="0" y="32"/>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6" name="Freeform 470">
                <a:extLst>
                  <a:ext uri="{FF2B5EF4-FFF2-40B4-BE49-F238E27FC236}">
                    <a16:creationId xmlns:a16="http://schemas.microsoft.com/office/drawing/2014/main" id="{5A748DEC-51EC-4A2B-B385-DD410404354A}"/>
                  </a:ext>
                </a:extLst>
              </p:cNvPr>
              <p:cNvSpPr>
                <a:spLocks/>
              </p:cNvSpPr>
              <p:nvPr/>
            </p:nvSpPr>
            <p:spPr bwMode="auto">
              <a:xfrm>
                <a:off x="2703833" y="2624595"/>
                <a:ext cx="121776" cy="191644"/>
              </a:xfrm>
              <a:custGeom>
                <a:avLst/>
                <a:gdLst>
                  <a:gd name="T0" fmla="*/ 0 w 49"/>
                  <a:gd name="T1" fmla="*/ 57644 h 73"/>
                  <a:gd name="T2" fmla="*/ 0 w 49"/>
                  <a:gd name="T3" fmla="*/ 86466 h 73"/>
                  <a:gd name="T4" fmla="*/ 14417 w 49"/>
                  <a:gd name="T5" fmla="*/ 100877 h 73"/>
                  <a:gd name="T6" fmla="*/ 14417 w 49"/>
                  <a:gd name="T7" fmla="*/ 115288 h 73"/>
                  <a:gd name="T8" fmla="*/ 28835 w 49"/>
                  <a:gd name="T9" fmla="*/ 115288 h 73"/>
                  <a:gd name="T10" fmla="*/ 43252 w 49"/>
                  <a:gd name="T11" fmla="*/ 115288 h 73"/>
                  <a:gd name="T12" fmla="*/ 57670 w 49"/>
                  <a:gd name="T13" fmla="*/ 129699 h 73"/>
                  <a:gd name="T14" fmla="*/ 57670 w 49"/>
                  <a:gd name="T15" fmla="*/ 115288 h 73"/>
                  <a:gd name="T16" fmla="*/ 72087 w 49"/>
                  <a:gd name="T17" fmla="*/ 129699 h 73"/>
                  <a:gd name="T18" fmla="*/ 86505 w 49"/>
                  <a:gd name="T19" fmla="*/ 129699 h 73"/>
                  <a:gd name="T20" fmla="*/ 72087 w 49"/>
                  <a:gd name="T21" fmla="*/ 115288 h 73"/>
                  <a:gd name="T22" fmla="*/ 86505 w 49"/>
                  <a:gd name="T23" fmla="*/ 115288 h 73"/>
                  <a:gd name="T24" fmla="*/ 57670 w 49"/>
                  <a:gd name="T25" fmla="*/ 100877 h 73"/>
                  <a:gd name="T26" fmla="*/ 43252 w 49"/>
                  <a:gd name="T27" fmla="*/ 115288 h 73"/>
                  <a:gd name="T28" fmla="*/ 28835 w 49"/>
                  <a:gd name="T29" fmla="*/ 86466 h 73"/>
                  <a:gd name="T30" fmla="*/ 57670 w 49"/>
                  <a:gd name="T31" fmla="*/ 43233 h 73"/>
                  <a:gd name="T32" fmla="*/ 43252 w 49"/>
                  <a:gd name="T33" fmla="*/ 28822 h 73"/>
                  <a:gd name="T34" fmla="*/ 57670 w 49"/>
                  <a:gd name="T35" fmla="*/ 0 h 73"/>
                  <a:gd name="T36" fmla="*/ 43252 w 49"/>
                  <a:gd name="T37" fmla="*/ 14411 h 73"/>
                  <a:gd name="T38" fmla="*/ 14417 w 49"/>
                  <a:gd name="T39" fmla="*/ 0 h 73"/>
                  <a:gd name="T40" fmla="*/ 0 w 49"/>
                  <a:gd name="T41" fmla="*/ 57644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9"/>
                  <a:gd name="T64" fmla="*/ 0 h 73"/>
                  <a:gd name="T65" fmla="*/ 49 w 49"/>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9" h="73">
                    <a:moveTo>
                      <a:pt x="0" y="32"/>
                    </a:moveTo>
                    <a:lnTo>
                      <a:pt x="0" y="48"/>
                    </a:lnTo>
                    <a:lnTo>
                      <a:pt x="8" y="56"/>
                    </a:lnTo>
                    <a:lnTo>
                      <a:pt x="8" y="64"/>
                    </a:lnTo>
                    <a:lnTo>
                      <a:pt x="16" y="64"/>
                    </a:lnTo>
                    <a:lnTo>
                      <a:pt x="24" y="64"/>
                    </a:lnTo>
                    <a:lnTo>
                      <a:pt x="32" y="72"/>
                    </a:lnTo>
                    <a:lnTo>
                      <a:pt x="32" y="64"/>
                    </a:lnTo>
                    <a:lnTo>
                      <a:pt x="40" y="72"/>
                    </a:lnTo>
                    <a:lnTo>
                      <a:pt x="48" y="72"/>
                    </a:lnTo>
                    <a:lnTo>
                      <a:pt x="40" y="64"/>
                    </a:lnTo>
                    <a:lnTo>
                      <a:pt x="48" y="64"/>
                    </a:lnTo>
                    <a:lnTo>
                      <a:pt x="32" y="56"/>
                    </a:lnTo>
                    <a:lnTo>
                      <a:pt x="24" y="64"/>
                    </a:lnTo>
                    <a:lnTo>
                      <a:pt x="16" y="48"/>
                    </a:lnTo>
                    <a:lnTo>
                      <a:pt x="32" y="24"/>
                    </a:lnTo>
                    <a:lnTo>
                      <a:pt x="24" y="16"/>
                    </a:lnTo>
                    <a:lnTo>
                      <a:pt x="32" y="0"/>
                    </a:lnTo>
                    <a:lnTo>
                      <a:pt x="24" y="8"/>
                    </a:lnTo>
                    <a:lnTo>
                      <a:pt x="8" y="0"/>
                    </a:lnTo>
                    <a:lnTo>
                      <a:pt x="0" y="32"/>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7" name="Freeform 471">
                <a:extLst>
                  <a:ext uri="{FF2B5EF4-FFF2-40B4-BE49-F238E27FC236}">
                    <a16:creationId xmlns:a16="http://schemas.microsoft.com/office/drawing/2014/main" id="{F71A4082-6B08-4A1C-82C2-14782AB04167}"/>
                  </a:ext>
                </a:extLst>
              </p:cNvPr>
              <p:cNvSpPr>
                <a:spLocks/>
              </p:cNvSpPr>
              <p:nvPr/>
            </p:nvSpPr>
            <p:spPr bwMode="auto">
              <a:xfrm>
                <a:off x="2604426" y="2876621"/>
                <a:ext cx="82011" cy="107636"/>
              </a:xfrm>
              <a:custGeom>
                <a:avLst/>
                <a:gdLst>
                  <a:gd name="T0" fmla="*/ 0 w 33"/>
                  <a:gd name="T1" fmla="*/ 72055 h 41"/>
                  <a:gd name="T2" fmla="*/ 0 w 33"/>
                  <a:gd name="T3" fmla="*/ 72055 h 41"/>
                  <a:gd name="T4" fmla="*/ 57670 w 33"/>
                  <a:gd name="T5" fmla="*/ 14411 h 41"/>
                  <a:gd name="T6" fmla="*/ 57670 w 33"/>
                  <a:gd name="T7" fmla="*/ 0 h 41"/>
                  <a:gd name="T8" fmla="*/ 0 w 33"/>
                  <a:gd name="T9" fmla="*/ 72055 h 41"/>
                  <a:gd name="T10" fmla="*/ 0 60000 65536"/>
                  <a:gd name="T11" fmla="*/ 0 60000 65536"/>
                  <a:gd name="T12" fmla="*/ 0 60000 65536"/>
                  <a:gd name="T13" fmla="*/ 0 60000 65536"/>
                  <a:gd name="T14" fmla="*/ 0 60000 65536"/>
                  <a:gd name="T15" fmla="*/ 0 w 33"/>
                  <a:gd name="T16" fmla="*/ 0 h 41"/>
                  <a:gd name="T17" fmla="*/ 33 w 33"/>
                  <a:gd name="T18" fmla="*/ 41 h 41"/>
                </a:gdLst>
                <a:ahLst/>
                <a:cxnLst>
                  <a:cxn ang="T10">
                    <a:pos x="T0" y="T1"/>
                  </a:cxn>
                  <a:cxn ang="T11">
                    <a:pos x="T2" y="T3"/>
                  </a:cxn>
                  <a:cxn ang="T12">
                    <a:pos x="T4" y="T5"/>
                  </a:cxn>
                  <a:cxn ang="T13">
                    <a:pos x="T6" y="T7"/>
                  </a:cxn>
                  <a:cxn ang="T14">
                    <a:pos x="T8" y="T9"/>
                  </a:cxn>
                </a:cxnLst>
                <a:rect l="T15" t="T16" r="T17" b="T18"/>
                <a:pathLst>
                  <a:path w="33" h="41">
                    <a:moveTo>
                      <a:pt x="0" y="40"/>
                    </a:moveTo>
                    <a:lnTo>
                      <a:pt x="0" y="40"/>
                    </a:lnTo>
                    <a:lnTo>
                      <a:pt x="32" y="8"/>
                    </a:lnTo>
                    <a:lnTo>
                      <a:pt x="32" y="0"/>
                    </a:lnTo>
                    <a:lnTo>
                      <a:pt x="0" y="4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8" name="Freeform 472">
                <a:extLst>
                  <a:ext uri="{FF2B5EF4-FFF2-40B4-BE49-F238E27FC236}">
                    <a16:creationId xmlns:a16="http://schemas.microsoft.com/office/drawing/2014/main" id="{861F872C-8D5B-4C1F-A48A-90D5EDEAD621}"/>
                  </a:ext>
                </a:extLst>
              </p:cNvPr>
              <p:cNvSpPr>
                <a:spLocks/>
              </p:cNvSpPr>
              <p:nvPr/>
            </p:nvSpPr>
            <p:spPr bwMode="auto">
              <a:xfrm>
                <a:off x="2604426" y="2876621"/>
                <a:ext cx="82011" cy="107636"/>
              </a:xfrm>
              <a:custGeom>
                <a:avLst/>
                <a:gdLst>
                  <a:gd name="T0" fmla="*/ 0 w 33"/>
                  <a:gd name="T1" fmla="*/ 72055 h 41"/>
                  <a:gd name="T2" fmla="*/ 57670 w 33"/>
                  <a:gd name="T3" fmla="*/ 14411 h 41"/>
                  <a:gd name="T4" fmla="*/ 57670 w 33"/>
                  <a:gd name="T5" fmla="*/ 0 h 41"/>
                  <a:gd name="T6" fmla="*/ 0 w 33"/>
                  <a:gd name="T7" fmla="*/ 72055 h 41"/>
                  <a:gd name="T8" fmla="*/ 0 60000 65536"/>
                  <a:gd name="T9" fmla="*/ 0 60000 65536"/>
                  <a:gd name="T10" fmla="*/ 0 60000 65536"/>
                  <a:gd name="T11" fmla="*/ 0 60000 65536"/>
                  <a:gd name="T12" fmla="*/ 0 w 33"/>
                  <a:gd name="T13" fmla="*/ 0 h 41"/>
                  <a:gd name="T14" fmla="*/ 33 w 33"/>
                  <a:gd name="T15" fmla="*/ 41 h 41"/>
                </a:gdLst>
                <a:ahLst/>
                <a:cxnLst>
                  <a:cxn ang="T8">
                    <a:pos x="T0" y="T1"/>
                  </a:cxn>
                  <a:cxn ang="T9">
                    <a:pos x="T2" y="T3"/>
                  </a:cxn>
                  <a:cxn ang="T10">
                    <a:pos x="T4" y="T5"/>
                  </a:cxn>
                  <a:cxn ang="T11">
                    <a:pos x="T6" y="T7"/>
                  </a:cxn>
                </a:cxnLst>
                <a:rect l="T12" t="T13" r="T14" b="T15"/>
                <a:pathLst>
                  <a:path w="33" h="41">
                    <a:moveTo>
                      <a:pt x="0" y="40"/>
                    </a:moveTo>
                    <a:lnTo>
                      <a:pt x="32" y="8"/>
                    </a:lnTo>
                    <a:lnTo>
                      <a:pt x="32" y="0"/>
                    </a:lnTo>
                    <a:lnTo>
                      <a:pt x="0" y="4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29" name="Freeform 473">
                <a:extLst>
                  <a:ext uri="{FF2B5EF4-FFF2-40B4-BE49-F238E27FC236}">
                    <a16:creationId xmlns:a16="http://schemas.microsoft.com/office/drawing/2014/main" id="{860B2435-A3A6-4F0A-B1C9-469EEA53B7B6}"/>
                  </a:ext>
                </a:extLst>
              </p:cNvPr>
              <p:cNvSpPr>
                <a:spLocks/>
              </p:cNvSpPr>
              <p:nvPr/>
            </p:nvSpPr>
            <p:spPr bwMode="auto">
              <a:xfrm>
                <a:off x="2703833" y="2813616"/>
                <a:ext cx="42248" cy="44629"/>
              </a:xfrm>
              <a:custGeom>
                <a:avLst/>
                <a:gdLst>
                  <a:gd name="T0" fmla="*/ 0 w 17"/>
                  <a:gd name="T1" fmla="*/ 0 h 17"/>
                  <a:gd name="T2" fmla="*/ 0 w 17"/>
                  <a:gd name="T3" fmla="*/ 0 h 17"/>
                  <a:gd name="T4" fmla="*/ 28835 w 17"/>
                  <a:gd name="T5" fmla="*/ 28822 h 17"/>
                  <a:gd name="T6" fmla="*/ 28835 w 17"/>
                  <a:gd name="T7" fmla="*/ 14411 h 17"/>
                  <a:gd name="T8" fmla="*/ 28835 w 17"/>
                  <a:gd name="T9" fmla="*/ 0 h 17"/>
                  <a:gd name="T10" fmla="*/ 0 w 17"/>
                  <a:gd name="T11" fmla="*/ 0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0"/>
                    </a:moveTo>
                    <a:lnTo>
                      <a:pt x="0" y="0"/>
                    </a:lnTo>
                    <a:lnTo>
                      <a:pt x="16" y="16"/>
                    </a:lnTo>
                    <a:lnTo>
                      <a:pt x="16" y="8"/>
                    </a:lnTo>
                    <a:lnTo>
                      <a:pt x="16" y="0"/>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0" name="Freeform 474">
                <a:extLst>
                  <a:ext uri="{FF2B5EF4-FFF2-40B4-BE49-F238E27FC236}">
                    <a16:creationId xmlns:a16="http://schemas.microsoft.com/office/drawing/2014/main" id="{14897EE3-8485-4286-BB0E-FFA8EE625349}"/>
                  </a:ext>
                </a:extLst>
              </p:cNvPr>
              <p:cNvSpPr>
                <a:spLocks/>
              </p:cNvSpPr>
              <p:nvPr/>
            </p:nvSpPr>
            <p:spPr bwMode="auto">
              <a:xfrm>
                <a:off x="2703833" y="2813616"/>
                <a:ext cx="42248" cy="44629"/>
              </a:xfrm>
              <a:custGeom>
                <a:avLst/>
                <a:gdLst>
                  <a:gd name="T0" fmla="*/ 0 w 17"/>
                  <a:gd name="T1" fmla="*/ 0 h 17"/>
                  <a:gd name="T2" fmla="*/ 28835 w 17"/>
                  <a:gd name="T3" fmla="*/ 28822 h 17"/>
                  <a:gd name="T4" fmla="*/ 28835 w 17"/>
                  <a:gd name="T5" fmla="*/ 14411 h 17"/>
                  <a:gd name="T6" fmla="*/ 28835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8"/>
                    </a:lnTo>
                    <a:lnTo>
                      <a:pt x="16" y="0"/>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1" name="Freeform 475">
                <a:extLst>
                  <a:ext uri="{FF2B5EF4-FFF2-40B4-BE49-F238E27FC236}">
                    <a16:creationId xmlns:a16="http://schemas.microsoft.com/office/drawing/2014/main" id="{77970B33-F28C-4AEB-934B-A8F46946F154}"/>
                  </a:ext>
                </a:extLst>
              </p:cNvPr>
              <p:cNvSpPr>
                <a:spLocks/>
              </p:cNvSpPr>
              <p:nvPr/>
            </p:nvSpPr>
            <p:spPr bwMode="auto">
              <a:xfrm>
                <a:off x="2843005" y="2834617"/>
                <a:ext cx="42248" cy="86635"/>
              </a:xfrm>
              <a:custGeom>
                <a:avLst/>
                <a:gdLst>
                  <a:gd name="T0" fmla="*/ 0 w 17"/>
                  <a:gd name="T1" fmla="*/ 0 h 33"/>
                  <a:gd name="T2" fmla="*/ 0 w 17"/>
                  <a:gd name="T3" fmla="*/ 0 h 33"/>
                  <a:gd name="T4" fmla="*/ 14417 w 17"/>
                  <a:gd name="T5" fmla="*/ 14411 h 33"/>
                  <a:gd name="T6" fmla="*/ 0 w 17"/>
                  <a:gd name="T7" fmla="*/ 28822 h 33"/>
                  <a:gd name="T8" fmla="*/ 0 w 17"/>
                  <a:gd name="T9" fmla="*/ 43233 h 33"/>
                  <a:gd name="T10" fmla="*/ 0 w 17"/>
                  <a:gd name="T11" fmla="*/ 57644 h 33"/>
                  <a:gd name="T12" fmla="*/ 14417 w 17"/>
                  <a:gd name="T13" fmla="*/ 57644 h 33"/>
                  <a:gd name="T14" fmla="*/ 14417 w 17"/>
                  <a:gd name="T15" fmla="*/ 28822 h 33"/>
                  <a:gd name="T16" fmla="*/ 28835 w 17"/>
                  <a:gd name="T17" fmla="*/ 28822 h 33"/>
                  <a:gd name="T18" fmla="*/ 14417 w 17"/>
                  <a:gd name="T19" fmla="*/ 14411 h 33"/>
                  <a:gd name="T20" fmla="*/ 14417 w 17"/>
                  <a:gd name="T21" fmla="*/ 0 h 33"/>
                  <a:gd name="T22" fmla="*/ 0 w 17"/>
                  <a:gd name="T23" fmla="*/ 0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33"/>
                  <a:gd name="T38" fmla="*/ 17 w 17"/>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33">
                    <a:moveTo>
                      <a:pt x="0" y="0"/>
                    </a:moveTo>
                    <a:lnTo>
                      <a:pt x="0" y="0"/>
                    </a:lnTo>
                    <a:lnTo>
                      <a:pt x="8" y="8"/>
                    </a:lnTo>
                    <a:lnTo>
                      <a:pt x="0" y="16"/>
                    </a:lnTo>
                    <a:lnTo>
                      <a:pt x="0" y="24"/>
                    </a:lnTo>
                    <a:lnTo>
                      <a:pt x="0" y="32"/>
                    </a:lnTo>
                    <a:lnTo>
                      <a:pt x="8" y="32"/>
                    </a:lnTo>
                    <a:lnTo>
                      <a:pt x="8" y="16"/>
                    </a:lnTo>
                    <a:lnTo>
                      <a:pt x="16" y="16"/>
                    </a:lnTo>
                    <a:lnTo>
                      <a:pt x="8" y="8"/>
                    </a:lnTo>
                    <a:lnTo>
                      <a:pt x="8" y="0"/>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2" name="Freeform 476">
                <a:extLst>
                  <a:ext uri="{FF2B5EF4-FFF2-40B4-BE49-F238E27FC236}">
                    <a16:creationId xmlns:a16="http://schemas.microsoft.com/office/drawing/2014/main" id="{E32F23BA-E808-400F-88AF-BCD39944F3B5}"/>
                  </a:ext>
                </a:extLst>
              </p:cNvPr>
              <p:cNvSpPr>
                <a:spLocks/>
              </p:cNvSpPr>
              <p:nvPr/>
            </p:nvSpPr>
            <p:spPr bwMode="auto">
              <a:xfrm>
                <a:off x="2843005" y="2834617"/>
                <a:ext cx="42248" cy="86635"/>
              </a:xfrm>
              <a:custGeom>
                <a:avLst/>
                <a:gdLst>
                  <a:gd name="T0" fmla="*/ 0 w 17"/>
                  <a:gd name="T1" fmla="*/ 0 h 33"/>
                  <a:gd name="T2" fmla="*/ 14417 w 17"/>
                  <a:gd name="T3" fmla="*/ 14411 h 33"/>
                  <a:gd name="T4" fmla="*/ 0 w 17"/>
                  <a:gd name="T5" fmla="*/ 28822 h 33"/>
                  <a:gd name="T6" fmla="*/ 0 w 17"/>
                  <a:gd name="T7" fmla="*/ 43233 h 33"/>
                  <a:gd name="T8" fmla="*/ 0 w 17"/>
                  <a:gd name="T9" fmla="*/ 57644 h 33"/>
                  <a:gd name="T10" fmla="*/ 14417 w 17"/>
                  <a:gd name="T11" fmla="*/ 57644 h 33"/>
                  <a:gd name="T12" fmla="*/ 14417 w 17"/>
                  <a:gd name="T13" fmla="*/ 28822 h 33"/>
                  <a:gd name="T14" fmla="*/ 28835 w 17"/>
                  <a:gd name="T15" fmla="*/ 28822 h 33"/>
                  <a:gd name="T16" fmla="*/ 14417 w 17"/>
                  <a:gd name="T17" fmla="*/ 14411 h 33"/>
                  <a:gd name="T18" fmla="*/ 14417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8" y="8"/>
                    </a:lnTo>
                    <a:lnTo>
                      <a:pt x="0" y="16"/>
                    </a:lnTo>
                    <a:lnTo>
                      <a:pt x="0" y="24"/>
                    </a:lnTo>
                    <a:lnTo>
                      <a:pt x="0" y="32"/>
                    </a:lnTo>
                    <a:lnTo>
                      <a:pt x="8" y="32"/>
                    </a:lnTo>
                    <a:lnTo>
                      <a:pt x="8" y="16"/>
                    </a:lnTo>
                    <a:lnTo>
                      <a:pt x="16" y="16"/>
                    </a:lnTo>
                    <a:lnTo>
                      <a:pt x="8" y="8"/>
                    </a:lnTo>
                    <a:lnTo>
                      <a:pt x="8" y="0"/>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3" name="Freeform 477">
                <a:extLst>
                  <a:ext uri="{FF2B5EF4-FFF2-40B4-BE49-F238E27FC236}">
                    <a16:creationId xmlns:a16="http://schemas.microsoft.com/office/drawing/2014/main" id="{09172FF5-8194-49C2-B0EF-30EE3DC7604F}"/>
                  </a:ext>
                </a:extLst>
              </p:cNvPr>
              <p:cNvSpPr>
                <a:spLocks/>
              </p:cNvSpPr>
              <p:nvPr/>
            </p:nvSpPr>
            <p:spPr bwMode="auto">
              <a:xfrm>
                <a:off x="2763480" y="2855620"/>
                <a:ext cx="82011" cy="107636"/>
              </a:xfrm>
              <a:custGeom>
                <a:avLst/>
                <a:gdLst>
                  <a:gd name="T0" fmla="*/ 0 w 33"/>
                  <a:gd name="T1" fmla="*/ 28822 h 41"/>
                  <a:gd name="T2" fmla="*/ 0 w 33"/>
                  <a:gd name="T3" fmla="*/ 28822 h 41"/>
                  <a:gd name="T4" fmla="*/ 14417 w 33"/>
                  <a:gd name="T5" fmla="*/ 28822 h 41"/>
                  <a:gd name="T6" fmla="*/ 14417 w 33"/>
                  <a:gd name="T7" fmla="*/ 43233 h 41"/>
                  <a:gd name="T8" fmla="*/ 28835 w 33"/>
                  <a:gd name="T9" fmla="*/ 72055 h 41"/>
                  <a:gd name="T10" fmla="*/ 28835 w 33"/>
                  <a:gd name="T11" fmla="*/ 57644 h 41"/>
                  <a:gd name="T12" fmla="*/ 28835 w 33"/>
                  <a:gd name="T13" fmla="*/ 43233 h 41"/>
                  <a:gd name="T14" fmla="*/ 57670 w 33"/>
                  <a:gd name="T15" fmla="*/ 57644 h 41"/>
                  <a:gd name="T16" fmla="*/ 57670 w 33"/>
                  <a:gd name="T17" fmla="*/ 43233 h 41"/>
                  <a:gd name="T18" fmla="*/ 43252 w 33"/>
                  <a:gd name="T19" fmla="*/ 43233 h 41"/>
                  <a:gd name="T20" fmla="*/ 43252 w 33"/>
                  <a:gd name="T21" fmla="*/ 14411 h 41"/>
                  <a:gd name="T22" fmla="*/ 28835 w 33"/>
                  <a:gd name="T23" fmla="*/ 28822 h 41"/>
                  <a:gd name="T24" fmla="*/ 28835 w 33"/>
                  <a:gd name="T25" fmla="*/ 14411 h 41"/>
                  <a:gd name="T26" fmla="*/ 14417 w 33"/>
                  <a:gd name="T27" fmla="*/ 0 h 41"/>
                  <a:gd name="T28" fmla="*/ 0 w 33"/>
                  <a:gd name="T29" fmla="*/ 0 h 41"/>
                  <a:gd name="T30" fmla="*/ 0 w 33"/>
                  <a:gd name="T31" fmla="*/ 28822 h 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1"/>
                  <a:gd name="T50" fmla="*/ 33 w 33"/>
                  <a:gd name="T51" fmla="*/ 41 h 4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1">
                    <a:moveTo>
                      <a:pt x="0" y="16"/>
                    </a:moveTo>
                    <a:lnTo>
                      <a:pt x="0" y="16"/>
                    </a:lnTo>
                    <a:lnTo>
                      <a:pt x="8" y="16"/>
                    </a:lnTo>
                    <a:lnTo>
                      <a:pt x="8" y="24"/>
                    </a:lnTo>
                    <a:lnTo>
                      <a:pt x="16" y="40"/>
                    </a:lnTo>
                    <a:lnTo>
                      <a:pt x="16" y="32"/>
                    </a:lnTo>
                    <a:lnTo>
                      <a:pt x="16" y="24"/>
                    </a:lnTo>
                    <a:lnTo>
                      <a:pt x="32" y="32"/>
                    </a:lnTo>
                    <a:lnTo>
                      <a:pt x="32" y="24"/>
                    </a:lnTo>
                    <a:lnTo>
                      <a:pt x="24" y="24"/>
                    </a:lnTo>
                    <a:lnTo>
                      <a:pt x="24" y="8"/>
                    </a:lnTo>
                    <a:lnTo>
                      <a:pt x="16" y="16"/>
                    </a:lnTo>
                    <a:lnTo>
                      <a:pt x="16" y="8"/>
                    </a:lnTo>
                    <a:lnTo>
                      <a:pt x="8" y="0"/>
                    </a:lnTo>
                    <a:lnTo>
                      <a:pt x="0" y="0"/>
                    </a:lnTo>
                    <a:lnTo>
                      <a:pt x="0" y="16"/>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4" name="Freeform 478">
                <a:extLst>
                  <a:ext uri="{FF2B5EF4-FFF2-40B4-BE49-F238E27FC236}">
                    <a16:creationId xmlns:a16="http://schemas.microsoft.com/office/drawing/2014/main" id="{BF1473A3-E925-4541-A465-36BAFAA5B56A}"/>
                  </a:ext>
                </a:extLst>
              </p:cNvPr>
              <p:cNvSpPr>
                <a:spLocks/>
              </p:cNvSpPr>
              <p:nvPr/>
            </p:nvSpPr>
            <p:spPr bwMode="auto">
              <a:xfrm>
                <a:off x="2763480" y="2855620"/>
                <a:ext cx="82011" cy="107636"/>
              </a:xfrm>
              <a:custGeom>
                <a:avLst/>
                <a:gdLst>
                  <a:gd name="T0" fmla="*/ 0 w 33"/>
                  <a:gd name="T1" fmla="*/ 28822 h 41"/>
                  <a:gd name="T2" fmla="*/ 14417 w 33"/>
                  <a:gd name="T3" fmla="*/ 28822 h 41"/>
                  <a:gd name="T4" fmla="*/ 14417 w 33"/>
                  <a:gd name="T5" fmla="*/ 43233 h 41"/>
                  <a:gd name="T6" fmla="*/ 28835 w 33"/>
                  <a:gd name="T7" fmla="*/ 72055 h 41"/>
                  <a:gd name="T8" fmla="*/ 28835 w 33"/>
                  <a:gd name="T9" fmla="*/ 57644 h 41"/>
                  <a:gd name="T10" fmla="*/ 28835 w 33"/>
                  <a:gd name="T11" fmla="*/ 43233 h 41"/>
                  <a:gd name="T12" fmla="*/ 57670 w 33"/>
                  <a:gd name="T13" fmla="*/ 57644 h 41"/>
                  <a:gd name="T14" fmla="*/ 57670 w 33"/>
                  <a:gd name="T15" fmla="*/ 43233 h 41"/>
                  <a:gd name="T16" fmla="*/ 43252 w 33"/>
                  <a:gd name="T17" fmla="*/ 43233 h 41"/>
                  <a:gd name="T18" fmla="*/ 43252 w 33"/>
                  <a:gd name="T19" fmla="*/ 14411 h 41"/>
                  <a:gd name="T20" fmla="*/ 28835 w 33"/>
                  <a:gd name="T21" fmla="*/ 28822 h 41"/>
                  <a:gd name="T22" fmla="*/ 28835 w 33"/>
                  <a:gd name="T23" fmla="*/ 14411 h 41"/>
                  <a:gd name="T24" fmla="*/ 14417 w 33"/>
                  <a:gd name="T25" fmla="*/ 0 h 41"/>
                  <a:gd name="T26" fmla="*/ 0 w 33"/>
                  <a:gd name="T27" fmla="*/ 0 h 41"/>
                  <a:gd name="T28" fmla="*/ 0 w 33"/>
                  <a:gd name="T29" fmla="*/ 28822 h 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41"/>
                  <a:gd name="T47" fmla="*/ 33 w 33"/>
                  <a:gd name="T48" fmla="*/ 41 h 4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41">
                    <a:moveTo>
                      <a:pt x="0" y="16"/>
                    </a:moveTo>
                    <a:lnTo>
                      <a:pt x="8" y="16"/>
                    </a:lnTo>
                    <a:lnTo>
                      <a:pt x="8" y="24"/>
                    </a:lnTo>
                    <a:lnTo>
                      <a:pt x="16" y="40"/>
                    </a:lnTo>
                    <a:lnTo>
                      <a:pt x="16" y="32"/>
                    </a:lnTo>
                    <a:lnTo>
                      <a:pt x="16" y="24"/>
                    </a:lnTo>
                    <a:lnTo>
                      <a:pt x="32" y="32"/>
                    </a:lnTo>
                    <a:lnTo>
                      <a:pt x="32" y="24"/>
                    </a:lnTo>
                    <a:lnTo>
                      <a:pt x="24" y="24"/>
                    </a:lnTo>
                    <a:lnTo>
                      <a:pt x="24" y="8"/>
                    </a:lnTo>
                    <a:lnTo>
                      <a:pt x="16" y="16"/>
                    </a:lnTo>
                    <a:lnTo>
                      <a:pt x="16" y="8"/>
                    </a:lnTo>
                    <a:lnTo>
                      <a:pt x="8" y="0"/>
                    </a:lnTo>
                    <a:lnTo>
                      <a:pt x="0" y="0"/>
                    </a:lnTo>
                    <a:lnTo>
                      <a:pt x="0" y="16"/>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5" name="Freeform 479">
                <a:extLst>
                  <a:ext uri="{FF2B5EF4-FFF2-40B4-BE49-F238E27FC236}">
                    <a16:creationId xmlns:a16="http://schemas.microsoft.com/office/drawing/2014/main" id="{5953972A-E7DD-4748-BC35-0BD81018F438}"/>
                  </a:ext>
                </a:extLst>
              </p:cNvPr>
              <p:cNvSpPr>
                <a:spLocks/>
              </p:cNvSpPr>
              <p:nvPr/>
            </p:nvSpPr>
            <p:spPr bwMode="auto">
              <a:xfrm>
                <a:off x="2763480" y="2918626"/>
                <a:ext cx="141658" cy="149641"/>
              </a:xfrm>
              <a:custGeom>
                <a:avLst/>
                <a:gdLst>
                  <a:gd name="T0" fmla="*/ 0 w 57"/>
                  <a:gd name="T1" fmla="*/ 72055 h 57"/>
                  <a:gd name="T2" fmla="*/ 0 w 57"/>
                  <a:gd name="T3" fmla="*/ 72055 h 57"/>
                  <a:gd name="T4" fmla="*/ 14417 w 57"/>
                  <a:gd name="T5" fmla="*/ 57644 h 57"/>
                  <a:gd name="T6" fmla="*/ 28835 w 57"/>
                  <a:gd name="T7" fmla="*/ 57644 h 57"/>
                  <a:gd name="T8" fmla="*/ 43252 w 57"/>
                  <a:gd name="T9" fmla="*/ 57644 h 57"/>
                  <a:gd name="T10" fmla="*/ 57670 w 57"/>
                  <a:gd name="T11" fmla="*/ 57644 h 57"/>
                  <a:gd name="T12" fmla="*/ 43252 w 57"/>
                  <a:gd name="T13" fmla="*/ 86466 h 57"/>
                  <a:gd name="T14" fmla="*/ 72087 w 57"/>
                  <a:gd name="T15" fmla="*/ 100877 h 57"/>
                  <a:gd name="T16" fmla="*/ 86504 w 57"/>
                  <a:gd name="T17" fmla="*/ 86466 h 57"/>
                  <a:gd name="T18" fmla="*/ 72087 w 57"/>
                  <a:gd name="T19" fmla="*/ 72055 h 57"/>
                  <a:gd name="T20" fmla="*/ 86504 w 57"/>
                  <a:gd name="T21" fmla="*/ 57644 h 57"/>
                  <a:gd name="T22" fmla="*/ 100922 w 57"/>
                  <a:gd name="T23" fmla="*/ 86466 h 57"/>
                  <a:gd name="T24" fmla="*/ 100922 w 57"/>
                  <a:gd name="T25" fmla="*/ 57644 h 57"/>
                  <a:gd name="T26" fmla="*/ 100922 w 57"/>
                  <a:gd name="T27" fmla="*/ 28822 h 57"/>
                  <a:gd name="T28" fmla="*/ 72087 w 57"/>
                  <a:gd name="T29" fmla="*/ 0 h 57"/>
                  <a:gd name="T30" fmla="*/ 72087 w 57"/>
                  <a:gd name="T31" fmla="*/ 28822 h 57"/>
                  <a:gd name="T32" fmla="*/ 57670 w 57"/>
                  <a:gd name="T33" fmla="*/ 28822 h 57"/>
                  <a:gd name="T34" fmla="*/ 43252 w 57"/>
                  <a:gd name="T35" fmla="*/ 43233 h 57"/>
                  <a:gd name="T36" fmla="*/ 28835 w 57"/>
                  <a:gd name="T37" fmla="*/ 28822 h 57"/>
                  <a:gd name="T38" fmla="*/ 0 w 57"/>
                  <a:gd name="T39" fmla="*/ 57644 h 57"/>
                  <a:gd name="T40" fmla="*/ 0 w 57"/>
                  <a:gd name="T41" fmla="*/ 72055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57"/>
                  <a:gd name="T65" fmla="*/ 57 w 57"/>
                  <a:gd name="T66" fmla="*/ 57 h 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57">
                    <a:moveTo>
                      <a:pt x="0" y="40"/>
                    </a:moveTo>
                    <a:lnTo>
                      <a:pt x="0" y="40"/>
                    </a:lnTo>
                    <a:lnTo>
                      <a:pt x="8" y="32"/>
                    </a:lnTo>
                    <a:lnTo>
                      <a:pt x="16" y="32"/>
                    </a:lnTo>
                    <a:lnTo>
                      <a:pt x="24" y="32"/>
                    </a:lnTo>
                    <a:lnTo>
                      <a:pt x="32" y="32"/>
                    </a:lnTo>
                    <a:lnTo>
                      <a:pt x="24" y="48"/>
                    </a:lnTo>
                    <a:lnTo>
                      <a:pt x="40" y="56"/>
                    </a:lnTo>
                    <a:lnTo>
                      <a:pt x="48" y="48"/>
                    </a:lnTo>
                    <a:lnTo>
                      <a:pt x="40" y="40"/>
                    </a:lnTo>
                    <a:lnTo>
                      <a:pt x="48" y="32"/>
                    </a:lnTo>
                    <a:lnTo>
                      <a:pt x="56" y="48"/>
                    </a:lnTo>
                    <a:lnTo>
                      <a:pt x="56" y="32"/>
                    </a:lnTo>
                    <a:lnTo>
                      <a:pt x="56" y="16"/>
                    </a:lnTo>
                    <a:lnTo>
                      <a:pt x="40" y="0"/>
                    </a:lnTo>
                    <a:lnTo>
                      <a:pt x="40" y="16"/>
                    </a:lnTo>
                    <a:lnTo>
                      <a:pt x="32" y="16"/>
                    </a:lnTo>
                    <a:lnTo>
                      <a:pt x="24" y="24"/>
                    </a:lnTo>
                    <a:lnTo>
                      <a:pt x="16" y="16"/>
                    </a:lnTo>
                    <a:lnTo>
                      <a:pt x="0" y="32"/>
                    </a:lnTo>
                    <a:lnTo>
                      <a:pt x="0" y="4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6" name="Freeform 480">
                <a:extLst>
                  <a:ext uri="{FF2B5EF4-FFF2-40B4-BE49-F238E27FC236}">
                    <a16:creationId xmlns:a16="http://schemas.microsoft.com/office/drawing/2014/main" id="{0FA8CDAD-2927-4A48-A1D7-208EB948F576}"/>
                  </a:ext>
                </a:extLst>
              </p:cNvPr>
              <p:cNvSpPr>
                <a:spLocks/>
              </p:cNvSpPr>
              <p:nvPr/>
            </p:nvSpPr>
            <p:spPr bwMode="auto">
              <a:xfrm>
                <a:off x="2763480" y="2918626"/>
                <a:ext cx="141658" cy="149641"/>
              </a:xfrm>
              <a:custGeom>
                <a:avLst/>
                <a:gdLst>
                  <a:gd name="T0" fmla="*/ 0 w 57"/>
                  <a:gd name="T1" fmla="*/ 72055 h 57"/>
                  <a:gd name="T2" fmla="*/ 14417 w 57"/>
                  <a:gd name="T3" fmla="*/ 57644 h 57"/>
                  <a:gd name="T4" fmla="*/ 28835 w 57"/>
                  <a:gd name="T5" fmla="*/ 57644 h 57"/>
                  <a:gd name="T6" fmla="*/ 43252 w 57"/>
                  <a:gd name="T7" fmla="*/ 57644 h 57"/>
                  <a:gd name="T8" fmla="*/ 57670 w 57"/>
                  <a:gd name="T9" fmla="*/ 57644 h 57"/>
                  <a:gd name="T10" fmla="*/ 43252 w 57"/>
                  <a:gd name="T11" fmla="*/ 86466 h 57"/>
                  <a:gd name="T12" fmla="*/ 72087 w 57"/>
                  <a:gd name="T13" fmla="*/ 100877 h 57"/>
                  <a:gd name="T14" fmla="*/ 86504 w 57"/>
                  <a:gd name="T15" fmla="*/ 86466 h 57"/>
                  <a:gd name="T16" fmla="*/ 72087 w 57"/>
                  <a:gd name="T17" fmla="*/ 72055 h 57"/>
                  <a:gd name="T18" fmla="*/ 86504 w 57"/>
                  <a:gd name="T19" fmla="*/ 57644 h 57"/>
                  <a:gd name="T20" fmla="*/ 100922 w 57"/>
                  <a:gd name="T21" fmla="*/ 86466 h 57"/>
                  <a:gd name="T22" fmla="*/ 100922 w 57"/>
                  <a:gd name="T23" fmla="*/ 57644 h 57"/>
                  <a:gd name="T24" fmla="*/ 100922 w 57"/>
                  <a:gd name="T25" fmla="*/ 28822 h 57"/>
                  <a:gd name="T26" fmla="*/ 72087 w 57"/>
                  <a:gd name="T27" fmla="*/ 0 h 57"/>
                  <a:gd name="T28" fmla="*/ 72087 w 57"/>
                  <a:gd name="T29" fmla="*/ 28822 h 57"/>
                  <a:gd name="T30" fmla="*/ 57670 w 57"/>
                  <a:gd name="T31" fmla="*/ 28822 h 57"/>
                  <a:gd name="T32" fmla="*/ 43252 w 57"/>
                  <a:gd name="T33" fmla="*/ 43233 h 57"/>
                  <a:gd name="T34" fmla="*/ 28835 w 57"/>
                  <a:gd name="T35" fmla="*/ 28822 h 57"/>
                  <a:gd name="T36" fmla="*/ 0 w 57"/>
                  <a:gd name="T37" fmla="*/ 57644 h 57"/>
                  <a:gd name="T38" fmla="*/ 0 w 57"/>
                  <a:gd name="T39" fmla="*/ 72055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57"/>
                  <a:gd name="T62" fmla="*/ 57 w 57"/>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57">
                    <a:moveTo>
                      <a:pt x="0" y="40"/>
                    </a:moveTo>
                    <a:lnTo>
                      <a:pt x="8" y="32"/>
                    </a:lnTo>
                    <a:lnTo>
                      <a:pt x="16" y="32"/>
                    </a:lnTo>
                    <a:lnTo>
                      <a:pt x="24" y="32"/>
                    </a:lnTo>
                    <a:lnTo>
                      <a:pt x="32" y="32"/>
                    </a:lnTo>
                    <a:lnTo>
                      <a:pt x="24" y="48"/>
                    </a:lnTo>
                    <a:lnTo>
                      <a:pt x="40" y="56"/>
                    </a:lnTo>
                    <a:lnTo>
                      <a:pt x="48" y="48"/>
                    </a:lnTo>
                    <a:lnTo>
                      <a:pt x="40" y="40"/>
                    </a:lnTo>
                    <a:lnTo>
                      <a:pt x="48" y="32"/>
                    </a:lnTo>
                    <a:lnTo>
                      <a:pt x="56" y="48"/>
                    </a:lnTo>
                    <a:lnTo>
                      <a:pt x="56" y="32"/>
                    </a:lnTo>
                    <a:lnTo>
                      <a:pt x="56" y="16"/>
                    </a:lnTo>
                    <a:lnTo>
                      <a:pt x="40" y="0"/>
                    </a:lnTo>
                    <a:lnTo>
                      <a:pt x="40" y="16"/>
                    </a:lnTo>
                    <a:lnTo>
                      <a:pt x="32" y="16"/>
                    </a:lnTo>
                    <a:lnTo>
                      <a:pt x="24" y="24"/>
                    </a:lnTo>
                    <a:lnTo>
                      <a:pt x="16" y="16"/>
                    </a:lnTo>
                    <a:lnTo>
                      <a:pt x="0" y="32"/>
                    </a:lnTo>
                    <a:lnTo>
                      <a:pt x="0" y="4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7" name="Freeform 481">
                <a:extLst>
                  <a:ext uri="{FF2B5EF4-FFF2-40B4-BE49-F238E27FC236}">
                    <a16:creationId xmlns:a16="http://schemas.microsoft.com/office/drawing/2014/main" id="{BAFE19DD-A03E-4053-9B95-B4ABCE09198E}"/>
                  </a:ext>
                </a:extLst>
              </p:cNvPr>
              <p:cNvSpPr>
                <a:spLocks/>
              </p:cNvSpPr>
              <p:nvPr/>
            </p:nvSpPr>
            <p:spPr bwMode="auto">
              <a:xfrm>
                <a:off x="3578626" y="3380674"/>
                <a:ext cx="141658" cy="86635"/>
              </a:xfrm>
              <a:custGeom>
                <a:avLst/>
                <a:gdLst>
                  <a:gd name="T0" fmla="*/ 0 w 57"/>
                  <a:gd name="T1" fmla="*/ 28822 h 33"/>
                  <a:gd name="T2" fmla="*/ 0 w 57"/>
                  <a:gd name="T3" fmla="*/ 28822 h 33"/>
                  <a:gd name="T4" fmla="*/ 28835 w 57"/>
                  <a:gd name="T5" fmla="*/ 57644 h 33"/>
                  <a:gd name="T6" fmla="*/ 57670 w 57"/>
                  <a:gd name="T7" fmla="*/ 57644 h 33"/>
                  <a:gd name="T8" fmla="*/ 86504 w 57"/>
                  <a:gd name="T9" fmla="*/ 43233 h 33"/>
                  <a:gd name="T10" fmla="*/ 100922 w 57"/>
                  <a:gd name="T11" fmla="*/ 14411 h 33"/>
                  <a:gd name="T12" fmla="*/ 100922 w 57"/>
                  <a:gd name="T13" fmla="*/ 0 h 33"/>
                  <a:gd name="T14" fmla="*/ 86504 w 57"/>
                  <a:gd name="T15" fmla="*/ 0 h 33"/>
                  <a:gd name="T16" fmla="*/ 86504 w 57"/>
                  <a:gd name="T17" fmla="*/ 28822 h 33"/>
                  <a:gd name="T18" fmla="*/ 72087 w 57"/>
                  <a:gd name="T19" fmla="*/ 28822 h 33"/>
                  <a:gd name="T20" fmla="*/ 57670 w 57"/>
                  <a:gd name="T21" fmla="*/ 28822 h 33"/>
                  <a:gd name="T22" fmla="*/ 0 w 57"/>
                  <a:gd name="T23" fmla="*/ 28822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7"/>
                  <a:gd name="T37" fmla="*/ 0 h 33"/>
                  <a:gd name="T38" fmla="*/ 57 w 57"/>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7" h="33">
                    <a:moveTo>
                      <a:pt x="0" y="16"/>
                    </a:moveTo>
                    <a:lnTo>
                      <a:pt x="0" y="16"/>
                    </a:lnTo>
                    <a:lnTo>
                      <a:pt x="16" y="32"/>
                    </a:lnTo>
                    <a:lnTo>
                      <a:pt x="32" y="32"/>
                    </a:lnTo>
                    <a:lnTo>
                      <a:pt x="48" y="24"/>
                    </a:lnTo>
                    <a:lnTo>
                      <a:pt x="56" y="8"/>
                    </a:lnTo>
                    <a:lnTo>
                      <a:pt x="56" y="0"/>
                    </a:lnTo>
                    <a:lnTo>
                      <a:pt x="48" y="0"/>
                    </a:lnTo>
                    <a:lnTo>
                      <a:pt x="48" y="16"/>
                    </a:lnTo>
                    <a:lnTo>
                      <a:pt x="40" y="16"/>
                    </a:lnTo>
                    <a:lnTo>
                      <a:pt x="32" y="16"/>
                    </a:lnTo>
                    <a:lnTo>
                      <a:pt x="0" y="16"/>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8" name="Freeform 482">
                <a:extLst>
                  <a:ext uri="{FF2B5EF4-FFF2-40B4-BE49-F238E27FC236}">
                    <a16:creationId xmlns:a16="http://schemas.microsoft.com/office/drawing/2014/main" id="{053D4CE4-6322-4CEF-8F60-B091248CB483}"/>
                  </a:ext>
                </a:extLst>
              </p:cNvPr>
              <p:cNvSpPr>
                <a:spLocks/>
              </p:cNvSpPr>
              <p:nvPr/>
            </p:nvSpPr>
            <p:spPr bwMode="auto">
              <a:xfrm>
                <a:off x="3578626" y="3380674"/>
                <a:ext cx="141658" cy="86635"/>
              </a:xfrm>
              <a:custGeom>
                <a:avLst/>
                <a:gdLst>
                  <a:gd name="T0" fmla="*/ 0 w 57"/>
                  <a:gd name="T1" fmla="*/ 28822 h 33"/>
                  <a:gd name="T2" fmla="*/ 28835 w 57"/>
                  <a:gd name="T3" fmla="*/ 57644 h 33"/>
                  <a:gd name="T4" fmla="*/ 57670 w 57"/>
                  <a:gd name="T5" fmla="*/ 57644 h 33"/>
                  <a:gd name="T6" fmla="*/ 86504 w 57"/>
                  <a:gd name="T7" fmla="*/ 43233 h 33"/>
                  <a:gd name="T8" fmla="*/ 100922 w 57"/>
                  <a:gd name="T9" fmla="*/ 14411 h 33"/>
                  <a:gd name="T10" fmla="*/ 100922 w 57"/>
                  <a:gd name="T11" fmla="*/ 0 h 33"/>
                  <a:gd name="T12" fmla="*/ 86504 w 57"/>
                  <a:gd name="T13" fmla="*/ 0 h 33"/>
                  <a:gd name="T14" fmla="*/ 86504 w 57"/>
                  <a:gd name="T15" fmla="*/ 28822 h 33"/>
                  <a:gd name="T16" fmla="*/ 72087 w 57"/>
                  <a:gd name="T17" fmla="*/ 28822 h 33"/>
                  <a:gd name="T18" fmla="*/ 57670 w 57"/>
                  <a:gd name="T19" fmla="*/ 28822 h 33"/>
                  <a:gd name="T20" fmla="*/ 0 w 57"/>
                  <a:gd name="T21" fmla="*/ 2882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2" y="32"/>
                    </a:lnTo>
                    <a:lnTo>
                      <a:pt x="48" y="24"/>
                    </a:lnTo>
                    <a:lnTo>
                      <a:pt x="56" y="8"/>
                    </a:lnTo>
                    <a:lnTo>
                      <a:pt x="56" y="0"/>
                    </a:lnTo>
                    <a:lnTo>
                      <a:pt x="48" y="0"/>
                    </a:lnTo>
                    <a:lnTo>
                      <a:pt x="48" y="16"/>
                    </a:lnTo>
                    <a:lnTo>
                      <a:pt x="40" y="16"/>
                    </a:lnTo>
                    <a:lnTo>
                      <a:pt x="32" y="16"/>
                    </a:lnTo>
                    <a:lnTo>
                      <a:pt x="0" y="16"/>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39" name="Freeform 483">
                <a:extLst>
                  <a:ext uri="{FF2B5EF4-FFF2-40B4-BE49-F238E27FC236}">
                    <a16:creationId xmlns:a16="http://schemas.microsoft.com/office/drawing/2014/main" id="{9E70681F-562C-4459-A2EC-E32341EF1506}"/>
                  </a:ext>
                </a:extLst>
              </p:cNvPr>
              <p:cNvSpPr>
                <a:spLocks/>
              </p:cNvSpPr>
              <p:nvPr/>
            </p:nvSpPr>
            <p:spPr bwMode="auto">
              <a:xfrm>
                <a:off x="3678036" y="3359671"/>
                <a:ext cx="62129" cy="44629"/>
              </a:xfrm>
              <a:custGeom>
                <a:avLst/>
                <a:gdLst>
                  <a:gd name="T0" fmla="*/ 0 w 25"/>
                  <a:gd name="T1" fmla="*/ 0 h 17"/>
                  <a:gd name="T2" fmla="*/ 0 w 25"/>
                  <a:gd name="T3" fmla="*/ 0 h 17"/>
                  <a:gd name="T4" fmla="*/ 28835 w 25"/>
                  <a:gd name="T5" fmla="*/ 14411 h 17"/>
                  <a:gd name="T6" fmla="*/ 43252 w 25"/>
                  <a:gd name="T7" fmla="*/ 28822 h 17"/>
                  <a:gd name="T8" fmla="*/ 43252 w 25"/>
                  <a:gd name="T9" fmla="*/ 14411 h 17"/>
                  <a:gd name="T10" fmla="*/ 0 w 25"/>
                  <a:gd name="T11" fmla="*/ 0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0"/>
                    </a:moveTo>
                    <a:lnTo>
                      <a:pt x="0" y="0"/>
                    </a:lnTo>
                    <a:lnTo>
                      <a:pt x="16" y="8"/>
                    </a:lnTo>
                    <a:lnTo>
                      <a:pt x="24" y="16"/>
                    </a:lnTo>
                    <a:lnTo>
                      <a:pt x="24" y="8"/>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40" name="Freeform 484">
                <a:extLst>
                  <a:ext uri="{FF2B5EF4-FFF2-40B4-BE49-F238E27FC236}">
                    <a16:creationId xmlns:a16="http://schemas.microsoft.com/office/drawing/2014/main" id="{6381C71F-D405-4F6B-9DB1-900E13C5CA7C}"/>
                  </a:ext>
                </a:extLst>
              </p:cNvPr>
              <p:cNvSpPr>
                <a:spLocks/>
              </p:cNvSpPr>
              <p:nvPr/>
            </p:nvSpPr>
            <p:spPr bwMode="auto">
              <a:xfrm>
                <a:off x="3678036" y="3359671"/>
                <a:ext cx="62129" cy="44629"/>
              </a:xfrm>
              <a:custGeom>
                <a:avLst/>
                <a:gdLst>
                  <a:gd name="T0" fmla="*/ 0 w 25"/>
                  <a:gd name="T1" fmla="*/ 0 h 17"/>
                  <a:gd name="T2" fmla="*/ 28835 w 25"/>
                  <a:gd name="T3" fmla="*/ 14411 h 17"/>
                  <a:gd name="T4" fmla="*/ 43252 w 25"/>
                  <a:gd name="T5" fmla="*/ 28822 h 17"/>
                  <a:gd name="T6" fmla="*/ 43252 w 25"/>
                  <a:gd name="T7" fmla="*/ 14411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6" y="8"/>
                    </a:lnTo>
                    <a:lnTo>
                      <a:pt x="24" y="16"/>
                    </a:lnTo>
                    <a:lnTo>
                      <a:pt x="24" y="8"/>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41" name="Freeform 485">
                <a:extLst>
                  <a:ext uri="{FF2B5EF4-FFF2-40B4-BE49-F238E27FC236}">
                    <a16:creationId xmlns:a16="http://schemas.microsoft.com/office/drawing/2014/main" id="{39F95F6B-1968-41BC-8BF0-877E7484682F}"/>
                  </a:ext>
                </a:extLst>
              </p:cNvPr>
              <p:cNvSpPr>
                <a:spLocks/>
              </p:cNvSpPr>
              <p:nvPr/>
            </p:nvSpPr>
            <p:spPr bwMode="auto">
              <a:xfrm>
                <a:off x="3797325" y="3422680"/>
                <a:ext cx="42248" cy="65633"/>
              </a:xfrm>
              <a:custGeom>
                <a:avLst/>
                <a:gdLst>
                  <a:gd name="T0" fmla="*/ 0 w 17"/>
                  <a:gd name="T1" fmla="*/ 0 h 25"/>
                  <a:gd name="T2" fmla="*/ 0 w 17"/>
                  <a:gd name="T3" fmla="*/ 0 h 25"/>
                  <a:gd name="T4" fmla="*/ 14417 w 17"/>
                  <a:gd name="T5" fmla="*/ 43233 h 25"/>
                  <a:gd name="T6" fmla="*/ 28835 w 17"/>
                  <a:gd name="T7" fmla="*/ 28822 h 25"/>
                  <a:gd name="T8" fmla="*/ 0 w 17"/>
                  <a:gd name="T9" fmla="*/ 0 h 25"/>
                  <a:gd name="T10" fmla="*/ 0 60000 65536"/>
                  <a:gd name="T11" fmla="*/ 0 60000 65536"/>
                  <a:gd name="T12" fmla="*/ 0 60000 65536"/>
                  <a:gd name="T13" fmla="*/ 0 60000 65536"/>
                  <a:gd name="T14" fmla="*/ 0 60000 65536"/>
                  <a:gd name="T15" fmla="*/ 0 w 17"/>
                  <a:gd name="T16" fmla="*/ 0 h 25"/>
                  <a:gd name="T17" fmla="*/ 17 w 17"/>
                  <a:gd name="T18" fmla="*/ 25 h 25"/>
                </a:gdLst>
                <a:ahLst/>
                <a:cxnLst>
                  <a:cxn ang="T10">
                    <a:pos x="T0" y="T1"/>
                  </a:cxn>
                  <a:cxn ang="T11">
                    <a:pos x="T2" y="T3"/>
                  </a:cxn>
                  <a:cxn ang="T12">
                    <a:pos x="T4" y="T5"/>
                  </a:cxn>
                  <a:cxn ang="T13">
                    <a:pos x="T6" y="T7"/>
                  </a:cxn>
                  <a:cxn ang="T14">
                    <a:pos x="T8" y="T9"/>
                  </a:cxn>
                </a:cxnLst>
                <a:rect l="T15" t="T16" r="T17" b="T18"/>
                <a:pathLst>
                  <a:path w="17" h="25">
                    <a:moveTo>
                      <a:pt x="0" y="0"/>
                    </a:moveTo>
                    <a:lnTo>
                      <a:pt x="0" y="0"/>
                    </a:lnTo>
                    <a:lnTo>
                      <a:pt x="8" y="24"/>
                    </a:lnTo>
                    <a:lnTo>
                      <a:pt x="16" y="16"/>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42" name="Freeform 486">
                <a:extLst>
                  <a:ext uri="{FF2B5EF4-FFF2-40B4-BE49-F238E27FC236}">
                    <a16:creationId xmlns:a16="http://schemas.microsoft.com/office/drawing/2014/main" id="{6ED62A23-0110-4210-99A4-BF3148C0A34C}"/>
                  </a:ext>
                </a:extLst>
              </p:cNvPr>
              <p:cNvSpPr>
                <a:spLocks/>
              </p:cNvSpPr>
              <p:nvPr/>
            </p:nvSpPr>
            <p:spPr bwMode="auto">
              <a:xfrm>
                <a:off x="3797325" y="3422680"/>
                <a:ext cx="42248" cy="65633"/>
              </a:xfrm>
              <a:custGeom>
                <a:avLst/>
                <a:gdLst>
                  <a:gd name="T0" fmla="*/ 0 w 17"/>
                  <a:gd name="T1" fmla="*/ 0 h 25"/>
                  <a:gd name="T2" fmla="*/ 14417 w 17"/>
                  <a:gd name="T3" fmla="*/ 43233 h 25"/>
                  <a:gd name="T4" fmla="*/ 28835 w 17"/>
                  <a:gd name="T5" fmla="*/ 28822 h 25"/>
                  <a:gd name="T6" fmla="*/ 0 w 17"/>
                  <a:gd name="T7" fmla="*/ 0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0"/>
                    </a:moveTo>
                    <a:lnTo>
                      <a:pt x="8" y="24"/>
                    </a:lnTo>
                    <a:lnTo>
                      <a:pt x="16" y="16"/>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43" name="Freeform 487">
                <a:extLst>
                  <a:ext uri="{FF2B5EF4-FFF2-40B4-BE49-F238E27FC236}">
                    <a16:creationId xmlns:a16="http://schemas.microsoft.com/office/drawing/2014/main" id="{9FB12CEF-E817-460D-93EE-5947A2635EFC}"/>
                  </a:ext>
                </a:extLst>
              </p:cNvPr>
              <p:cNvSpPr>
                <a:spLocks/>
              </p:cNvSpPr>
              <p:nvPr/>
            </p:nvSpPr>
            <p:spPr bwMode="auto">
              <a:xfrm>
                <a:off x="3936497" y="3548691"/>
                <a:ext cx="42248" cy="23627"/>
              </a:xfrm>
              <a:custGeom>
                <a:avLst/>
                <a:gdLst>
                  <a:gd name="T0" fmla="*/ 0 w 17"/>
                  <a:gd name="T1" fmla="*/ 0 h 9"/>
                  <a:gd name="T2" fmla="*/ 0 w 17"/>
                  <a:gd name="T3" fmla="*/ 0 h 9"/>
                  <a:gd name="T4" fmla="*/ 0 w 17"/>
                  <a:gd name="T5" fmla="*/ 14411 h 9"/>
                  <a:gd name="T6" fmla="*/ 28835 w 17"/>
                  <a:gd name="T7" fmla="*/ 14411 h 9"/>
                  <a:gd name="T8" fmla="*/ 0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0" y="0"/>
                    </a:moveTo>
                    <a:lnTo>
                      <a:pt x="0" y="0"/>
                    </a:lnTo>
                    <a:lnTo>
                      <a:pt x="0" y="8"/>
                    </a:lnTo>
                    <a:lnTo>
                      <a:pt x="16" y="8"/>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44" name="Freeform 488">
                <a:extLst>
                  <a:ext uri="{FF2B5EF4-FFF2-40B4-BE49-F238E27FC236}">
                    <a16:creationId xmlns:a16="http://schemas.microsoft.com/office/drawing/2014/main" id="{A76A009D-2039-4CD7-AC76-568198FB5C5B}"/>
                  </a:ext>
                </a:extLst>
              </p:cNvPr>
              <p:cNvSpPr>
                <a:spLocks/>
              </p:cNvSpPr>
              <p:nvPr/>
            </p:nvSpPr>
            <p:spPr bwMode="auto">
              <a:xfrm>
                <a:off x="3936497" y="3548691"/>
                <a:ext cx="42248" cy="23627"/>
              </a:xfrm>
              <a:custGeom>
                <a:avLst/>
                <a:gdLst>
                  <a:gd name="T0" fmla="*/ 0 w 17"/>
                  <a:gd name="T1" fmla="*/ 0 h 9"/>
                  <a:gd name="T2" fmla="*/ 0 w 17"/>
                  <a:gd name="T3" fmla="*/ 14411 h 9"/>
                  <a:gd name="T4" fmla="*/ 28835 w 17"/>
                  <a:gd name="T5" fmla="*/ 14411 h 9"/>
                  <a:gd name="T6" fmla="*/ 0 w 17"/>
                  <a:gd name="T7" fmla="*/ 0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0" y="0"/>
                    </a:moveTo>
                    <a:lnTo>
                      <a:pt x="0" y="8"/>
                    </a:lnTo>
                    <a:lnTo>
                      <a:pt x="16" y="8"/>
                    </a:lnTo>
                    <a:lnTo>
                      <a:pt x="0" y="0"/>
                    </a:lnTo>
                  </a:path>
                </a:pathLst>
              </a:custGeom>
              <a:solidFill>
                <a:schemeClr val="accent6"/>
              </a:solidFill>
              <a:ln w="3175" cap="rnd" cmpd="sng">
                <a:solidFill>
                  <a:schemeClr val="accent6"/>
                </a:solidFill>
                <a:prstDash val="solid"/>
                <a:round/>
                <a:headEnd type="none" w="med" len="med"/>
                <a:tailEnd type="none" w="med" len="med"/>
              </a:ln>
            </p:spPr>
            <p:txBody>
              <a:bodyPr/>
              <a:lstStyle/>
              <a:p>
                <a:pPr>
                  <a:defRPr/>
                </a:pPr>
                <a:endParaRPr lang="en-AU" sz="759">
                  <a:solidFill>
                    <a:srgbClr val="2167AE"/>
                  </a:solidFill>
                  <a:latin typeface="Zurich Sans" panose="02000500000000000000" pitchFamily="2" charset="0"/>
                  <a:cs typeface="Arial" charset="0"/>
                </a:endParaRPr>
              </a:p>
            </p:txBody>
          </p:sp>
          <p:sp>
            <p:nvSpPr>
              <p:cNvPr id="145" name="Line 491">
                <a:extLst>
                  <a:ext uri="{FF2B5EF4-FFF2-40B4-BE49-F238E27FC236}">
                    <a16:creationId xmlns:a16="http://schemas.microsoft.com/office/drawing/2014/main" id="{637D27E7-8D0C-4CDA-B1D2-6F22BB584535}"/>
                  </a:ext>
                </a:extLst>
              </p:cNvPr>
              <p:cNvSpPr>
                <a:spLocks noChangeShapeType="1"/>
              </p:cNvSpPr>
              <p:nvPr/>
            </p:nvSpPr>
            <p:spPr bwMode="auto">
              <a:xfrm>
                <a:off x="4204900" y="3811218"/>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46" name="Line 503">
                <a:extLst>
                  <a:ext uri="{FF2B5EF4-FFF2-40B4-BE49-F238E27FC236}">
                    <a16:creationId xmlns:a16="http://schemas.microsoft.com/office/drawing/2014/main" id="{7A401EBC-545D-4116-910C-AA497E5D64EF}"/>
                  </a:ext>
                </a:extLst>
              </p:cNvPr>
              <p:cNvSpPr>
                <a:spLocks noChangeShapeType="1"/>
              </p:cNvSpPr>
              <p:nvPr/>
            </p:nvSpPr>
            <p:spPr bwMode="auto">
              <a:xfrm>
                <a:off x="2514959" y="2530086"/>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47" name="Line 548">
                <a:extLst>
                  <a:ext uri="{FF2B5EF4-FFF2-40B4-BE49-F238E27FC236}">
                    <a16:creationId xmlns:a16="http://schemas.microsoft.com/office/drawing/2014/main" id="{3D539C6E-A7DE-46B1-9C81-8668BB0AF71B}"/>
                  </a:ext>
                </a:extLst>
              </p:cNvPr>
              <p:cNvSpPr>
                <a:spLocks noChangeShapeType="1"/>
              </p:cNvSpPr>
              <p:nvPr/>
            </p:nvSpPr>
            <p:spPr bwMode="auto">
              <a:xfrm>
                <a:off x="1858865" y="2845118"/>
                <a:ext cx="0" cy="21003"/>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48" name="Line 549">
                <a:extLst>
                  <a:ext uri="{FF2B5EF4-FFF2-40B4-BE49-F238E27FC236}">
                    <a16:creationId xmlns:a16="http://schemas.microsoft.com/office/drawing/2014/main" id="{F67E15CC-C13F-4659-A104-B5C40D70D029}"/>
                  </a:ext>
                </a:extLst>
              </p:cNvPr>
              <p:cNvSpPr>
                <a:spLocks noChangeShapeType="1"/>
              </p:cNvSpPr>
              <p:nvPr/>
            </p:nvSpPr>
            <p:spPr bwMode="auto">
              <a:xfrm>
                <a:off x="1958272" y="3202156"/>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49" name="Line 550">
                <a:extLst>
                  <a:ext uri="{FF2B5EF4-FFF2-40B4-BE49-F238E27FC236}">
                    <a16:creationId xmlns:a16="http://schemas.microsoft.com/office/drawing/2014/main" id="{D921E876-44F9-4F9B-AA93-C03429EA318C}"/>
                  </a:ext>
                </a:extLst>
              </p:cNvPr>
              <p:cNvSpPr>
                <a:spLocks noChangeShapeType="1"/>
              </p:cNvSpPr>
              <p:nvPr/>
            </p:nvSpPr>
            <p:spPr bwMode="auto">
              <a:xfrm flipV="1">
                <a:off x="2952355" y="2341066"/>
                <a:ext cx="19881" cy="63007"/>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0" name="Line 551">
                <a:extLst>
                  <a:ext uri="{FF2B5EF4-FFF2-40B4-BE49-F238E27FC236}">
                    <a16:creationId xmlns:a16="http://schemas.microsoft.com/office/drawing/2014/main" id="{236F1F76-9EAE-4904-9878-CCC0F2805952}"/>
                  </a:ext>
                </a:extLst>
              </p:cNvPr>
              <p:cNvSpPr>
                <a:spLocks noChangeShapeType="1"/>
              </p:cNvSpPr>
              <p:nvPr/>
            </p:nvSpPr>
            <p:spPr bwMode="auto">
              <a:xfrm flipV="1">
                <a:off x="3002059" y="2288560"/>
                <a:ext cx="0" cy="42005"/>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1" name="Line 552">
                <a:extLst>
                  <a:ext uri="{FF2B5EF4-FFF2-40B4-BE49-F238E27FC236}">
                    <a16:creationId xmlns:a16="http://schemas.microsoft.com/office/drawing/2014/main" id="{675A18AE-A02B-469F-BD5C-98837D83E224}"/>
                  </a:ext>
                </a:extLst>
              </p:cNvPr>
              <p:cNvSpPr>
                <a:spLocks noChangeShapeType="1"/>
              </p:cNvSpPr>
              <p:nvPr/>
            </p:nvSpPr>
            <p:spPr bwMode="auto">
              <a:xfrm flipV="1">
                <a:off x="3509042" y="1626993"/>
                <a:ext cx="19881" cy="63007"/>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2" name="Line 553">
                <a:extLst>
                  <a:ext uri="{FF2B5EF4-FFF2-40B4-BE49-F238E27FC236}">
                    <a16:creationId xmlns:a16="http://schemas.microsoft.com/office/drawing/2014/main" id="{B58D718D-7E2F-4F91-89C2-807B845CEFC8}"/>
                  </a:ext>
                </a:extLst>
              </p:cNvPr>
              <p:cNvSpPr>
                <a:spLocks noChangeShapeType="1"/>
              </p:cNvSpPr>
              <p:nvPr/>
            </p:nvSpPr>
            <p:spPr bwMode="auto">
              <a:xfrm flipV="1">
                <a:off x="3628332" y="1542983"/>
                <a:ext cx="39763" cy="63007"/>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3" name="Line 554">
                <a:extLst>
                  <a:ext uri="{FF2B5EF4-FFF2-40B4-BE49-F238E27FC236}">
                    <a16:creationId xmlns:a16="http://schemas.microsoft.com/office/drawing/2014/main" id="{D7CB7D6B-F1A0-45C9-A015-72B7A159592E}"/>
                  </a:ext>
                </a:extLst>
              </p:cNvPr>
              <p:cNvSpPr>
                <a:spLocks noChangeShapeType="1"/>
              </p:cNvSpPr>
              <p:nvPr/>
            </p:nvSpPr>
            <p:spPr bwMode="auto">
              <a:xfrm>
                <a:off x="3707857" y="1521983"/>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4" name="Line 558">
                <a:extLst>
                  <a:ext uri="{FF2B5EF4-FFF2-40B4-BE49-F238E27FC236}">
                    <a16:creationId xmlns:a16="http://schemas.microsoft.com/office/drawing/2014/main" id="{DBEC1A95-4CFF-464A-9149-8AE0308AE607}"/>
                  </a:ext>
                </a:extLst>
              </p:cNvPr>
              <p:cNvSpPr>
                <a:spLocks noChangeShapeType="1"/>
              </p:cNvSpPr>
              <p:nvPr/>
            </p:nvSpPr>
            <p:spPr bwMode="auto">
              <a:xfrm flipV="1">
                <a:off x="3051763" y="3496185"/>
                <a:ext cx="19881" cy="63007"/>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5" name="Line 559">
                <a:extLst>
                  <a:ext uri="{FF2B5EF4-FFF2-40B4-BE49-F238E27FC236}">
                    <a16:creationId xmlns:a16="http://schemas.microsoft.com/office/drawing/2014/main" id="{0B963EBC-C824-41B2-85BB-91BB59D0F273}"/>
                  </a:ext>
                </a:extLst>
              </p:cNvPr>
              <p:cNvSpPr>
                <a:spLocks noChangeShapeType="1"/>
              </p:cNvSpPr>
              <p:nvPr/>
            </p:nvSpPr>
            <p:spPr bwMode="auto">
              <a:xfrm>
                <a:off x="2495077" y="3517189"/>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6" name="Line 560">
                <a:extLst>
                  <a:ext uri="{FF2B5EF4-FFF2-40B4-BE49-F238E27FC236}">
                    <a16:creationId xmlns:a16="http://schemas.microsoft.com/office/drawing/2014/main" id="{AE8A9554-7B49-48CC-80E0-EA953C6D0FDF}"/>
                  </a:ext>
                </a:extLst>
              </p:cNvPr>
              <p:cNvSpPr>
                <a:spLocks noChangeShapeType="1"/>
              </p:cNvSpPr>
              <p:nvPr/>
            </p:nvSpPr>
            <p:spPr bwMode="auto">
              <a:xfrm>
                <a:off x="2852946" y="3349171"/>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7" name="Line 561">
                <a:extLst>
                  <a:ext uri="{FF2B5EF4-FFF2-40B4-BE49-F238E27FC236}">
                    <a16:creationId xmlns:a16="http://schemas.microsoft.com/office/drawing/2014/main" id="{E95A74D0-945E-4426-9381-40B0EBC5641F}"/>
                  </a:ext>
                </a:extLst>
              </p:cNvPr>
              <p:cNvSpPr>
                <a:spLocks noChangeShapeType="1"/>
              </p:cNvSpPr>
              <p:nvPr/>
            </p:nvSpPr>
            <p:spPr bwMode="auto">
              <a:xfrm>
                <a:off x="3031883" y="3286164"/>
                <a:ext cx="19881"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8" name="Line 562">
                <a:extLst>
                  <a:ext uri="{FF2B5EF4-FFF2-40B4-BE49-F238E27FC236}">
                    <a16:creationId xmlns:a16="http://schemas.microsoft.com/office/drawing/2014/main" id="{BB242911-210A-442B-9BF3-C3C833E7B347}"/>
                  </a:ext>
                </a:extLst>
              </p:cNvPr>
              <p:cNvSpPr>
                <a:spLocks noChangeShapeType="1"/>
              </p:cNvSpPr>
              <p:nvPr/>
            </p:nvSpPr>
            <p:spPr bwMode="auto">
              <a:xfrm>
                <a:off x="3548805" y="3349171"/>
                <a:ext cx="0" cy="0"/>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59" name="Line 563">
                <a:extLst>
                  <a:ext uri="{FF2B5EF4-FFF2-40B4-BE49-F238E27FC236}">
                    <a16:creationId xmlns:a16="http://schemas.microsoft.com/office/drawing/2014/main" id="{AD949CDD-545F-4FF6-A8CD-92DCD37FE3EC}"/>
                  </a:ext>
                </a:extLst>
              </p:cNvPr>
              <p:cNvSpPr>
                <a:spLocks noChangeShapeType="1"/>
              </p:cNvSpPr>
              <p:nvPr/>
            </p:nvSpPr>
            <p:spPr bwMode="auto">
              <a:xfrm>
                <a:off x="3847029" y="3496185"/>
                <a:ext cx="39763" cy="21003"/>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60" name="Line 564">
                <a:extLst>
                  <a:ext uri="{FF2B5EF4-FFF2-40B4-BE49-F238E27FC236}">
                    <a16:creationId xmlns:a16="http://schemas.microsoft.com/office/drawing/2014/main" id="{5B8E8556-052F-453D-A971-802B4A1F6364}"/>
                  </a:ext>
                </a:extLst>
              </p:cNvPr>
              <p:cNvSpPr>
                <a:spLocks noChangeShapeType="1"/>
              </p:cNvSpPr>
              <p:nvPr/>
            </p:nvSpPr>
            <p:spPr bwMode="auto">
              <a:xfrm>
                <a:off x="3886794" y="3538191"/>
                <a:ext cx="19881" cy="21003"/>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61" name="Line 565">
                <a:extLst>
                  <a:ext uri="{FF2B5EF4-FFF2-40B4-BE49-F238E27FC236}">
                    <a16:creationId xmlns:a16="http://schemas.microsoft.com/office/drawing/2014/main" id="{3FF7103A-5FF7-4185-A77B-C02F764C6313}"/>
                  </a:ext>
                </a:extLst>
              </p:cNvPr>
              <p:cNvSpPr>
                <a:spLocks noChangeShapeType="1"/>
              </p:cNvSpPr>
              <p:nvPr/>
            </p:nvSpPr>
            <p:spPr bwMode="auto">
              <a:xfrm>
                <a:off x="3926557" y="3538191"/>
                <a:ext cx="19881" cy="21003"/>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62" name="Line 566">
                <a:extLst>
                  <a:ext uri="{FF2B5EF4-FFF2-40B4-BE49-F238E27FC236}">
                    <a16:creationId xmlns:a16="http://schemas.microsoft.com/office/drawing/2014/main" id="{4738158E-69CF-472C-A8F9-CB39FD8F6A6E}"/>
                  </a:ext>
                </a:extLst>
              </p:cNvPr>
              <p:cNvSpPr>
                <a:spLocks noChangeShapeType="1"/>
              </p:cNvSpPr>
              <p:nvPr/>
            </p:nvSpPr>
            <p:spPr bwMode="auto">
              <a:xfrm>
                <a:off x="3986201" y="3559192"/>
                <a:ext cx="19881" cy="42005"/>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63" name="Line 567">
                <a:extLst>
                  <a:ext uri="{FF2B5EF4-FFF2-40B4-BE49-F238E27FC236}">
                    <a16:creationId xmlns:a16="http://schemas.microsoft.com/office/drawing/2014/main" id="{3E538107-5225-40A7-98DC-4B9601586BC7}"/>
                  </a:ext>
                </a:extLst>
              </p:cNvPr>
              <p:cNvSpPr>
                <a:spLocks noChangeShapeType="1"/>
              </p:cNvSpPr>
              <p:nvPr/>
            </p:nvSpPr>
            <p:spPr bwMode="auto">
              <a:xfrm>
                <a:off x="4006084" y="3622197"/>
                <a:ext cx="39763" cy="21003"/>
              </a:xfrm>
              <a:prstGeom prst="line">
                <a:avLst/>
              </a:prstGeom>
              <a:solidFill>
                <a:schemeClr val="bg1"/>
              </a:solidFill>
              <a:ln w="3175">
                <a:solidFill>
                  <a:schemeClr val="accent6"/>
                </a:solidFill>
                <a:round/>
                <a:headEnd/>
                <a:tailEnd/>
              </a:ln>
            </p:spPr>
            <p:txBody>
              <a:bodyPr wrap="none" anchor="ctr"/>
              <a:lstStyle/>
              <a:p>
                <a:pPr>
                  <a:defRPr/>
                </a:pPr>
                <a:endParaRPr lang="en-AU" sz="759">
                  <a:solidFill>
                    <a:srgbClr val="2167AE"/>
                  </a:solidFill>
                  <a:latin typeface="Zurich Sans" panose="02000500000000000000" pitchFamily="2" charset="0"/>
                  <a:cs typeface="Arial" charset="0"/>
                </a:endParaRPr>
              </a:p>
            </p:txBody>
          </p:sp>
          <p:sp>
            <p:nvSpPr>
              <p:cNvPr id="164" name="Freeform 120">
                <a:extLst>
                  <a:ext uri="{FF2B5EF4-FFF2-40B4-BE49-F238E27FC236}">
                    <a16:creationId xmlns:a16="http://schemas.microsoft.com/office/drawing/2014/main" id="{4890C991-0523-464F-B340-001D71F08AAD}"/>
                  </a:ext>
                </a:extLst>
              </p:cNvPr>
              <p:cNvSpPr>
                <a:spLocks/>
              </p:cNvSpPr>
              <p:nvPr>
                <p:custDataLst>
                  <p:tags r:id="rId2"/>
                </p:custDataLst>
              </p:nvPr>
            </p:nvSpPr>
            <p:spPr bwMode="auto">
              <a:xfrm>
                <a:off x="3891463" y="4514791"/>
                <a:ext cx="252468" cy="207623"/>
              </a:xfrm>
              <a:custGeom>
                <a:avLst/>
                <a:gdLst>
                  <a:gd name="T0" fmla="*/ 2147483647 w 73"/>
                  <a:gd name="T1" fmla="*/ 2147483647 h 113"/>
                  <a:gd name="T2" fmla="*/ 2147483647 w 73"/>
                  <a:gd name="T3" fmla="*/ 2147483647 h 113"/>
                  <a:gd name="T4" fmla="*/ 2147483647 w 73"/>
                  <a:gd name="T5" fmla="*/ 2147483647 h 113"/>
                  <a:gd name="T6" fmla="*/ 2147483647 w 73"/>
                  <a:gd name="T7" fmla="*/ 2147483647 h 113"/>
                  <a:gd name="T8" fmla="*/ 2147483647 w 73"/>
                  <a:gd name="T9" fmla="*/ 2147483647 h 113"/>
                  <a:gd name="T10" fmla="*/ 2147483647 w 73"/>
                  <a:gd name="T11" fmla="*/ 2147483647 h 113"/>
                  <a:gd name="T12" fmla="*/ 2147483647 w 73"/>
                  <a:gd name="T13" fmla="*/ 2147483647 h 113"/>
                  <a:gd name="T14" fmla="*/ 2147483647 w 73"/>
                  <a:gd name="T15" fmla="*/ 2147483647 h 113"/>
                  <a:gd name="T16" fmla="*/ 2147483647 w 73"/>
                  <a:gd name="T17" fmla="*/ 2147483647 h 113"/>
                  <a:gd name="T18" fmla="*/ 2147483647 w 73"/>
                  <a:gd name="T19" fmla="*/ 2147483647 h 113"/>
                  <a:gd name="T20" fmla="*/ 2147483647 w 73"/>
                  <a:gd name="T21" fmla="*/ 2147483647 h 113"/>
                  <a:gd name="T22" fmla="*/ 2147483647 w 73"/>
                  <a:gd name="T23" fmla="*/ 2147483647 h 113"/>
                  <a:gd name="T24" fmla="*/ 2147483647 w 73"/>
                  <a:gd name="T25" fmla="*/ 2147483647 h 113"/>
                  <a:gd name="T26" fmla="*/ 2147483647 w 73"/>
                  <a:gd name="T27" fmla="*/ 2147483647 h 113"/>
                  <a:gd name="T28" fmla="*/ 2147483647 w 73"/>
                  <a:gd name="T29" fmla="*/ 2147483647 h 113"/>
                  <a:gd name="T30" fmla="*/ 2147483647 w 73"/>
                  <a:gd name="T31" fmla="*/ 2147483647 h 113"/>
                  <a:gd name="T32" fmla="*/ 2147483647 w 73"/>
                  <a:gd name="T33" fmla="*/ 2147483647 h 113"/>
                  <a:gd name="T34" fmla="*/ 2147483647 w 73"/>
                  <a:gd name="T35" fmla="*/ 2147483647 h 113"/>
                  <a:gd name="T36" fmla="*/ 0 w 73"/>
                  <a:gd name="T37" fmla="*/ 0 h 113"/>
                  <a:gd name="T38" fmla="*/ 2147483647 w 73"/>
                  <a:gd name="T39" fmla="*/ 2147483647 h 113"/>
                  <a:gd name="T40" fmla="*/ 2147483647 w 73"/>
                  <a:gd name="T41" fmla="*/ 2147483647 h 113"/>
                  <a:gd name="T42" fmla="*/ 2147483647 w 73"/>
                  <a:gd name="T43" fmla="*/ 2147483647 h 1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113"/>
                  <a:gd name="T68" fmla="*/ 73 w 73"/>
                  <a:gd name="T69" fmla="*/ 113 h 1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113">
                    <a:moveTo>
                      <a:pt x="16" y="72"/>
                    </a:moveTo>
                    <a:lnTo>
                      <a:pt x="16" y="72"/>
                    </a:lnTo>
                    <a:lnTo>
                      <a:pt x="32" y="80"/>
                    </a:lnTo>
                    <a:lnTo>
                      <a:pt x="24" y="104"/>
                    </a:lnTo>
                    <a:lnTo>
                      <a:pt x="32" y="112"/>
                    </a:lnTo>
                    <a:lnTo>
                      <a:pt x="40" y="104"/>
                    </a:lnTo>
                    <a:lnTo>
                      <a:pt x="56" y="72"/>
                    </a:lnTo>
                    <a:lnTo>
                      <a:pt x="64" y="72"/>
                    </a:lnTo>
                    <a:lnTo>
                      <a:pt x="72" y="64"/>
                    </a:lnTo>
                    <a:lnTo>
                      <a:pt x="72" y="48"/>
                    </a:lnTo>
                    <a:lnTo>
                      <a:pt x="64" y="40"/>
                    </a:lnTo>
                    <a:lnTo>
                      <a:pt x="56" y="48"/>
                    </a:lnTo>
                    <a:lnTo>
                      <a:pt x="40" y="48"/>
                    </a:lnTo>
                    <a:lnTo>
                      <a:pt x="40" y="32"/>
                    </a:lnTo>
                    <a:lnTo>
                      <a:pt x="32" y="32"/>
                    </a:lnTo>
                    <a:lnTo>
                      <a:pt x="32" y="40"/>
                    </a:lnTo>
                    <a:lnTo>
                      <a:pt x="24" y="32"/>
                    </a:lnTo>
                    <a:lnTo>
                      <a:pt x="24" y="8"/>
                    </a:lnTo>
                    <a:lnTo>
                      <a:pt x="0" y="0"/>
                    </a:lnTo>
                    <a:lnTo>
                      <a:pt x="24" y="32"/>
                    </a:lnTo>
                    <a:lnTo>
                      <a:pt x="24" y="64"/>
                    </a:lnTo>
                    <a:lnTo>
                      <a:pt x="16" y="72"/>
                    </a:lnTo>
                  </a:path>
                </a:pathLst>
              </a:custGeom>
              <a:solidFill>
                <a:schemeClr val="tx1"/>
              </a:solidFill>
              <a:ln w="3175" cap="rnd">
                <a:solidFill>
                  <a:schemeClr val="accent6"/>
                </a:solidFill>
                <a:round/>
                <a:headEnd/>
                <a:tailEnd/>
              </a:ln>
            </p:spPr>
            <p:txBody>
              <a:bodyPr/>
              <a:lstStyle/>
              <a:p>
                <a:endParaRPr lang="en-US" sz="759">
                  <a:solidFill>
                    <a:srgbClr val="2167AE"/>
                  </a:solidFill>
                  <a:latin typeface="Zurich Sans" panose="02000500000000000000" pitchFamily="2" charset="0"/>
                </a:endParaRPr>
              </a:p>
            </p:txBody>
          </p:sp>
          <p:sp>
            <p:nvSpPr>
              <p:cNvPr id="165" name="Freeform 121">
                <a:extLst>
                  <a:ext uri="{FF2B5EF4-FFF2-40B4-BE49-F238E27FC236}">
                    <a16:creationId xmlns:a16="http://schemas.microsoft.com/office/drawing/2014/main" id="{801F3554-60D5-4419-9513-B916EA6326F1}"/>
                  </a:ext>
                </a:extLst>
              </p:cNvPr>
              <p:cNvSpPr>
                <a:spLocks/>
              </p:cNvSpPr>
              <p:nvPr>
                <p:custDataLst>
                  <p:tags r:id="rId3"/>
                </p:custDataLst>
              </p:nvPr>
            </p:nvSpPr>
            <p:spPr bwMode="auto">
              <a:xfrm>
                <a:off x="3891463" y="4514791"/>
                <a:ext cx="252468" cy="207623"/>
              </a:xfrm>
              <a:custGeom>
                <a:avLst/>
                <a:gdLst>
                  <a:gd name="T0" fmla="*/ 2147483647 w 73"/>
                  <a:gd name="T1" fmla="*/ 2147483647 h 113"/>
                  <a:gd name="T2" fmla="*/ 2147483647 w 73"/>
                  <a:gd name="T3" fmla="*/ 2147483647 h 113"/>
                  <a:gd name="T4" fmla="*/ 2147483647 w 73"/>
                  <a:gd name="T5" fmla="*/ 2147483647 h 113"/>
                  <a:gd name="T6" fmla="*/ 2147483647 w 73"/>
                  <a:gd name="T7" fmla="*/ 2147483647 h 113"/>
                  <a:gd name="T8" fmla="*/ 2147483647 w 73"/>
                  <a:gd name="T9" fmla="*/ 2147483647 h 113"/>
                  <a:gd name="T10" fmla="*/ 2147483647 w 73"/>
                  <a:gd name="T11" fmla="*/ 2147483647 h 113"/>
                  <a:gd name="T12" fmla="*/ 2147483647 w 73"/>
                  <a:gd name="T13" fmla="*/ 2147483647 h 113"/>
                  <a:gd name="T14" fmla="*/ 2147483647 w 73"/>
                  <a:gd name="T15" fmla="*/ 2147483647 h 113"/>
                  <a:gd name="T16" fmla="*/ 2147483647 w 73"/>
                  <a:gd name="T17" fmla="*/ 2147483647 h 113"/>
                  <a:gd name="T18" fmla="*/ 2147483647 w 73"/>
                  <a:gd name="T19" fmla="*/ 2147483647 h 113"/>
                  <a:gd name="T20" fmla="*/ 2147483647 w 73"/>
                  <a:gd name="T21" fmla="*/ 2147483647 h 113"/>
                  <a:gd name="T22" fmla="*/ 2147483647 w 73"/>
                  <a:gd name="T23" fmla="*/ 2147483647 h 113"/>
                  <a:gd name="T24" fmla="*/ 2147483647 w 73"/>
                  <a:gd name="T25" fmla="*/ 2147483647 h 113"/>
                  <a:gd name="T26" fmla="*/ 2147483647 w 73"/>
                  <a:gd name="T27" fmla="*/ 2147483647 h 113"/>
                  <a:gd name="T28" fmla="*/ 2147483647 w 73"/>
                  <a:gd name="T29" fmla="*/ 2147483647 h 113"/>
                  <a:gd name="T30" fmla="*/ 2147483647 w 73"/>
                  <a:gd name="T31" fmla="*/ 2147483647 h 113"/>
                  <a:gd name="T32" fmla="*/ 2147483647 w 73"/>
                  <a:gd name="T33" fmla="*/ 2147483647 h 113"/>
                  <a:gd name="T34" fmla="*/ 0 w 73"/>
                  <a:gd name="T35" fmla="*/ 0 h 113"/>
                  <a:gd name="T36" fmla="*/ 2147483647 w 73"/>
                  <a:gd name="T37" fmla="*/ 2147483647 h 113"/>
                  <a:gd name="T38" fmla="*/ 2147483647 w 73"/>
                  <a:gd name="T39" fmla="*/ 2147483647 h 113"/>
                  <a:gd name="T40" fmla="*/ 2147483647 w 73"/>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3"/>
                  <a:gd name="T65" fmla="*/ 73 w 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3">
                    <a:moveTo>
                      <a:pt x="16" y="72"/>
                    </a:moveTo>
                    <a:lnTo>
                      <a:pt x="32" y="80"/>
                    </a:lnTo>
                    <a:lnTo>
                      <a:pt x="24" y="104"/>
                    </a:lnTo>
                    <a:lnTo>
                      <a:pt x="32" y="112"/>
                    </a:lnTo>
                    <a:lnTo>
                      <a:pt x="40" y="104"/>
                    </a:lnTo>
                    <a:lnTo>
                      <a:pt x="56" y="72"/>
                    </a:lnTo>
                    <a:lnTo>
                      <a:pt x="64" y="72"/>
                    </a:lnTo>
                    <a:lnTo>
                      <a:pt x="72" y="64"/>
                    </a:lnTo>
                    <a:lnTo>
                      <a:pt x="72" y="48"/>
                    </a:lnTo>
                    <a:lnTo>
                      <a:pt x="64" y="40"/>
                    </a:lnTo>
                    <a:lnTo>
                      <a:pt x="56" y="48"/>
                    </a:lnTo>
                    <a:lnTo>
                      <a:pt x="40" y="48"/>
                    </a:lnTo>
                    <a:lnTo>
                      <a:pt x="40" y="32"/>
                    </a:lnTo>
                    <a:lnTo>
                      <a:pt x="32" y="32"/>
                    </a:lnTo>
                    <a:lnTo>
                      <a:pt x="32" y="40"/>
                    </a:lnTo>
                    <a:lnTo>
                      <a:pt x="24" y="32"/>
                    </a:lnTo>
                    <a:lnTo>
                      <a:pt x="24" y="8"/>
                    </a:lnTo>
                    <a:lnTo>
                      <a:pt x="0" y="0"/>
                    </a:lnTo>
                    <a:lnTo>
                      <a:pt x="24" y="32"/>
                    </a:lnTo>
                    <a:lnTo>
                      <a:pt x="24" y="64"/>
                    </a:lnTo>
                    <a:lnTo>
                      <a:pt x="16" y="72"/>
                    </a:lnTo>
                  </a:path>
                </a:pathLst>
              </a:custGeom>
              <a:solidFill>
                <a:srgbClr val="0070C0"/>
              </a:solidFill>
              <a:ln w="3175" cap="rnd">
                <a:solidFill>
                  <a:schemeClr val="accent6"/>
                </a:solidFill>
                <a:round/>
                <a:headEnd/>
                <a:tailEnd/>
              </a:ln>
            </p:spPr>
            <p:txBody>
              <a:bodyPr/>
              <a:lstStyle/>
              <a:p>
                <a:endParaRPr lang="en-US" sz="759">
                  <a:solidFill>
                    <a:srgbClr val="2167AE"/>
                  </a:solidFill>
                  <a:latin typeface="Zurich Sans" panose="02000500000000000000" pitchFamily="2" charset="0"/>
                </a:endParaRPr>
              </a:p>
            </p:txBody>
          </p:sp>
          <p:sp>
            <p:nvSpPr>
              <p:cNvPr id="166" name="Freeform 122">
                <a:extLst>
                  <a:ext uri="{FF2B5EF4-FFF2-40B4-BE49-F238E27FC236}">
                    <a16:creationId xmlns:a16="http://schemas.microsoft.com/office/drawing/2014/main" id="{DBE2389B-DA21-4B39-8F19-1AAA63220372}"/>
                  </a:ext>
                </a:extLst>
              </p:cNvPr>
              <p:cNvSpPr>
                <a:spLocks/>
              </p:cNvSpPr>
              <p:nvPr>
                <p:custDataLst>
                  <p:tags r:id="rId4"/>
                </p:custDataLst>
              </p:nvPr>
            </p:nvSpPr>
            <p:spPr bwMode="auto">
              <a:xfrm>
                <a:off x="3650473" y="4755507"/>
                <a:ext cx="366625" cy="192792"/>
              </a:xfrm>
              <a:custGeom>
                <a:avLst/>
                <a:gdLst>
                  <a:gd name="T0" fmla="*/ 0 w 105"/>
                  <a:gd name="T1" fmla="*/ 2147483647 h 105"/>
                  <a:gd name="T2" fmla="*/ 0 w 105"/>
                  <a:gd name="T3" fmla="*/ 2147483647 h 105"/>
                  <a:gd name="T4" fmla="*/ 2147483647 w 105"/>
                  <a:gd name="T5" fmla="*/ 2147483647 h 105"/>
                  <a:gd name="T6" fmla="*/ 2147483647 w 105"/>
                  <a:gd name="T7" fmla="*/ 2147483647 h 105"/>
                  <a:gd name="T8" fmla="*/ 2147483647 w 105"/>
                  <a:gd name="T9" fmla="*/ 2147483647 h 105"/>
                  <a:gd name="T10" fmla="*/ 2147483647 w 105"/>
                  <a:gd name="T11" fmla="*/ 2147483647 h 105"/>
                  <a:gd name="T12" fmla="*/ 2147483647 w 105"/>
                  <a:gd name="T13" fmla="*/ 2147483647 h 105"/>
                  <a:gd name="T14" fmla="*/ 2147483647 w 105"/>
                  <a:gd name="T15" fmla="*/ 2147483647 h 105"/>
                  <a:gd name="T16" fmla="*/ 2147483647 w 105"/>
                  <a:gd name="T17" fmla="*/ 2147483647 h 105"/>
                  <a:gd name="T18" fmla="*/ 2147483647 w 105"/>
                  <a:gd name="T19" fmla="*/ 2147483647 h 105"/>
                  <a:gd name="T20" fmla="*/ 2147483647 w 105"/>
                  <a:gd name="T21" fmla="*/ 2147483647 h 105"/>
                  <a:gd name="T22" fmla="*/ 2147483647 w 105"/>
                  <a:gd name="T23" fmla="*/ 2147483647 h 105"/>
                  <a:gd name="T24" fmla="*/ 2147483647 w 105"/>
                  <a:gd name="T25" fmla="*/ 2147483647 h 105"/>
                  <a:gd name="T26" fmla="*/ 2147483647 w 105"/>
                  <a:gd name="T27" fmla="*/ 2147483647 h 105"/>
                  <a:gd name="T28" fmla="*/ 2147483647 w 105"/>
                  <a:gd name="T29" fmla="*/ 0 h 105"/>
                  <a:gd name="T30" fmla="*/ 2147483647 w 105"/>
                  <a:gd name="T31" fmla="*/ 2147483647 h 105"/>
                  <a:gd name="T32" fmla="*/ 2147483647 w 105"/>
                  <a:gd name="T33" fmla="*/ 0 h 105"/>
                  <a:gd name="T34" fmla="*/ 2147483647 w 105"/>
                  <a:gd name="T35" fmla="*/ 0 h 105"/>
                  <a:gd name="T36" fmla="*/ 2147483647 w 105"/>
                  <a:gd name="T37" fmla="*/ 0 h 105"/>
                  <a:gd name="T38" fmla="*/ 2147483647 w 105"/>
                  <a:gd name="T39" fmla="*/ 2147483647 h 105"/>
                  <a:gd name="T40" fmla="*/ 2147483647 w 105"/>
                  <a:gd name="T41" fmla="*/ 2147483647 h 105"/>
                  <a:gd name="T42" fmla="*/ 2147483647 w 105"/>
                  <a:gd name="T43" fmla="*/ 2147483647 h 105"/>
                  <a:gd name="T44" fmla="*/ 2147483647 w 105"/>
                  <a:gd name="T45" fmla="*/ 2147483647 h 105"/>
                  <a:gd name="T46" fmla="*/ 0 w 105"/>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5"/>
                  <a:gd name="T73" fmla="*/ 0 h 105"/>
                  <a:gd name="T74" fmla="*/ 105 w 105"/>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5" h="105">
                    <a:moveTo>
                      <a:pt x="0" y="88"/>
                    </a:moveTo>
                    <a:lnTo>
                      <a:pt x="0" y="88"/>
                    </a:lnTo>
                    <a:lnTo>
                      <a:pt x="8" y="96"/>
                    </a:lnTo>
                    <a:lnTo>
                      <a:pt x="16" y="96"/>
                    </a:lnTo>
                    <a:lnTo>
                      <a:pt x="32" y="104"/>
                    </a:lnTo>
                    <a:lnTo>
                      <a:pt x="48" y="96"/>
                    </a:lnTo>
                    <a:lnTo>
                      <a:pt x="56" y="80"/>
                    </a:lnTo>
                    <a:lnTo>
                      <a:pt x="64" y="64"/>
                    </a:lnTo>
                    <a:lnTo>
                      <a:pt x="80" y="48"/>
                    </a:lnTo>
                    <a:lnTo>
                      <a:pt x="88" y="48"/>
                    </a:lnTo>
                    <a:lnTo>
                      <a:pt x="80" y="40"/>
                    </a:lnTo>
                    <a:lnTo>
                      <a:pt x="104" y="16"/>
                    </a:lnTo>
                    <a:lnTo>
                      <a:pt x="104" y="8"/>
                    </a:lnTo>
                    <a:lnTo>
                      <a:pt x="96" y="8"/>
                    </a:lnTo>
                    <a:lnTo>
                      <a:pt x="96" y="0"/>
                    </a:lnTo>
                    <a:lnTo>
                      <a:pt x="88" y="8"/>
                    </a:lnTo>
                    <a:lnTo>
                      <a:pt x="88" y="0"/>
                    </a:lnTo>
                    <a:lnTo>
                      <a:pt x="80" y="0"/>
                    </a:lnTo>
                    <a:lnTo>
                      <a:pt x="72" y="0"/>
                    </a:lnTo>
                    <a:lnTo>
                      <a:pt x="72" y="16"/>
                    </a:lnTo>
                    <a:lnTo>
                      <a:pt x="64" y="16"/>
                    </a:lnTo>
                    <a:lnTo>
                      <a:pt x="56" y="32"/>
                    </a:lnTo>
                    <a:lnTo>
                      <a:pt x="24" y="56"/>
                    </a:lnTo>
                    <a:lnTo>
                      <a:pt x="0" y="88"/>
                    </a:lnTo>
                  </a:path>
                </a:pathLst>
              </a:custGeom>
              <a:solidFill>
                <a:schemeClr val="tx1"/>
              </a:solidFill>
              <a:ln w="3175" cap="rnd">
                <a:solidFill>
                  <a:schemeClr val="accent6"/>
                </a:solidFill>
                <a:round/>
                <a:headEnd/>
                <a:tailEnd/>
              </a:ln>
            </p:spPr>
            <p:txBody>
              <a:bodyPr/>
              <a:lstStyle/>
              <a:p>
                <a:endParaRPr lang="en-US" sz="759">
                  <a:solidFill>
                    <a:srgbClr val="000066"/>
                  </a:solidFill>
                  <a:latin typeface="Zurich Sans" panose="02000500000000000000" pitchFamily="2" charset="0"/>
                </a:endParaRPr>
              </a:p>
            </p:txBody>
          </p:sp>
          <p:sp>
            <p:nvSpPr>
              <p:cNvPr id="167" name="Freeform 123">
                <a:extLst>
                  <a:ext uri="{FF2B5EF4-FFF2-40B4-BE49-F238E27FC236}">
                    <a16:creationId xmlns:a16="http://schemas.microsoft.com/office/drawing/2014/main" id="{5BFAFF5C-41F4-4EEB-9BFF-0CEE5451400E}"/>
                  </a:ext>
                </a:extLst>
              </p:cNvPr>
              <p:cNvSpPr>
                <a:spLocks/>
              </p:cNvSpPr>
              <p:nvPr>
                <p:custDataLst>
                  <p:tags r:id="rId5"/>
                </p:custDataLst>
              </p:nvPr>
            </p:nvSpPr>
            <p:spPr bwMode="auto">
              <a:xfrm>
                <a:off x="3650473" y="4755507"/>
                <a:ext cx="366625" cy="192792"/>
              </a:xfrm>
              <a:custGeom>
                <a:avLst/>
                <a:gdLst>
                  <a:gd name="T0" fmla="*/ 0 w 105"/>
                  <a:gd name="T1" fmla="*/ 2147483647 h 105"/>
                  <a:gd name="T2" fmla="*/ 2147483647 w 105"/>
                  <a:gd name="T3" fmla="*/ 2147483647 h 105"/>
                  <a:gd name="T4" fmla="*/ 2147483647 w 105"/>
                  <a:gd name="T5" fmla="*/ 2147483647 h 105"/>
                  <a:gd name="T6" fmla="*/ 2147483647 w 105"/>
                  <a:gd name="T7" fmla="*/ 2147483647 h 105"/>
                  <a:gd name="T8" fmla="*/ 2147483647 w 105"/>
                  <a:gd name="T9" fmla="*/ 2147483647 h 105"/>
                  <a:gd name="T10" fmla="*/ 2147483647 w 105"/>
                  <a:gd name="T11" fmla="*/ 2147483647 h 105"/>
                  <a:gd name="T12" fmla="*/ 2147483647 w 105"/>
                  <a:gd name="T13" fmla="*/ 2147483647 h 105"/>
                  <a:gd name="T14" fmla="*/ 2147483647 w 105"/>
                  <a:gd name="T15" fmla="*/ 2147483647 h 105"/>
                  <a:gd name="T16" fmla="*/ 2147483647 w 105"/>
                  <a:gd name="T17" fmla="*/ 2147483647 h 105"/>
                  <a:gd name="T18" fmla="*/ 2147483647 w 105"/>
                  <a:gd name="T19" fmla="*/ 2147483647 h 105"/>
                  <a:gd name="T20" fmla="*/ 2147483647 w 105"/>
                  <a:gd name="T21" fmla="*/ 2147483647 h 105"/>
                  <a:gd name="T22" fmla="*/ 2147483647 w 105"/>
                  <a:gd name="T23" fmla="*/ 2147483647 h 105"/>
                  <a:gd name="T24" fmla="*/ 2147483647 w 105"/>
                  <a:gd name="T25" fmla="*/ 2147483647 h 105"/>
                  <a:gd name="T26" fmla="*/ 2147483647 w 105"/>
                  <a:gd name="T27" fmla="*/ 0 h 105"/>
                  <a:gd name="T28" fmla="*/ 2147483647 w 105"/>
                  <a:gd name="T29" fmla="*/ 2147483647 h 105"/>
                  <a:gd name="T30" fmla="*/ 2147483647 w 105"/>
                  <a:gd name="T31" fmla="*/ 0 h 105"/>
                  <a:gd name="T32" fmla="*/ 2147483647 w 105"/>
                  <a:gd name="T33" fmla="*/ 0 h 105"/>
                  <a:gd name="T34" fmla="*/ 2147483647 w 105"/>
                  <a:gd name="T35" fmla="*/ 0 h 105"/>
                  <a:gd name="T36" fmla="*/ 2147483647 w 105"/>
                  <a:gd name="T37" fmla="*/ 2147483647 h 105"/>
                  <a:gd name="T38" fmla="*/ 2147483647 w 105"/>
                  <a:gd name="T39" fmla="*/ 2147483647 h 105"/>
                  <a:gd name="T40" fmla="*/ 2147483647 w 105"/>
                  <a:gd name="T41" fmla="*/ 2147483647 h 105"/>
                  <a:gd name="T42" fmla="*/ 2147483647 w 105"/>
                  <a:gd name="T43" fmla="*/ 2147483647 h 105"/>
                  <a:gd name="T44" fmla="*/ 0 w 105"/>
                  <a:gd name="T45" fmla="*/ 2147483647 h 1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5"/>
                  <a:gd name="T70" fmla="*/ 0 h 105"/>
                  <a:gd name="T71" fmla="*/ 105 w 105"/>
                  <a:gd name="T72" fmla="*/ 105 h 1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5" h="105">
                    <a:moveTo>
                      <a:pt x="0" y="88"/>
                    </a:moveTo>
                    <a:lnTo>
                      <a:pt x="8" y="96"/>
                    </a:lnTo>
                    <a:lnTo>
                      <a:pt x="16" y="96"/>
                    </a:lnTo>
                    <a:lnTo>
                      <a:pt x="32" y="104"/>
                    </a:lnTo>
                    <a:lnTo>
                      <a:pt x="48" y="96"/>
                    </a:lnTo>
                    <a:lnTo>
                      <a:pt x="56" y="80"/>
                    </a:lnTo>
                    <a:lnTo>
                      <a:pt x="64" y="64"/>
                    </a:lnTo>
                    <a:lnTo>
                      <a:pt x="80" y="48"/>
                    </a:lnTo>
                    <a:lnTo>
                      <a:pt x="88" y="48"/>
                    </a:lnTo>
                    <a:lnTo>
                      <a:pt x="80" y="40"/>
                    </a:lnTo>
                    <a:lnTo>
                      <a:pt x="104" y="16"/>
                    </a:lnTo>
                    <a:lnTo>
                      <a:pt x="104" y="8"/>
                    </a:lnTo>
                    <a:lnTo>
                      <a:pt x="96" y="8"/>
                    </a:lnTo>
                    <a:lnTo>
                      <a:pt x="96" y="0"/>
                    </a:lnTo>
                    <a:lnTo>
                      <a:pt x="88" y="8"/>
                    </a:lnTo>
                    <a:lnTo>
                      <a:pt x="88" y="0"/>
                    </a:lnTo>
                    <a:lnTo>
                      <a:pt x="80" y="0"/>
                    </a:lnTo>
                    <a:lnTo>
                      <a:pt x="72" y="0"/>
                    </a:lnTo>
                    <a:lnTo>
                      <a:pt x="72" y="16"/>
                    </a:lnTo>
                    <a:lnTo>
                      <a:pt x="64" y="16"/>
                    </a:lnTo>
                    <a:lnTo>
                      <a:pt x="56" y="32"/>
                    </a:lnTo>
                    <a:lnTo>
                      <a:pt x="24" y="56"/>
                    </a:lnTo>
                    <a:lnTo>
                      <a:pt x="0" y="88"/>
                    </a:lnTo>
                  </a:path>
                </a:pathLst>
              </a:custGeom>
              <a:solidFill>
                <a:srgbClr val="0070C0"/>
              </a:solidFill>
              <a:ln w="3175" cap="rnd">
                <a:solidFill>
                  <a:schemeClr val="accent6"/>
                </a:solidFill>
                <a:round/>
                <a:headEnd/>
                <a:tailEnd/>
              </a:ln>
            </p:spPr>
            <p:txBody>
              <a:bodyPr/>
              <a:lstStyle/>
              <a:p>
                <a:endParaRPr lang="en-US" sz="759">
                  <a:solidFill>
                    <a:srgbClr val="000066"/>
                  </a:solidFill>
                  <a:latin typeface="Zurich Sans" panose="02000500000000000000" pitchFamily="2" charset="0"/>
                </a:endParaRPr>
              </a:p>
            </p:txBody>
          </p:sp>
          <p:sp>
            <p:nvSpPr>
              <p:cNvPr id="168" name="AutoShape 6" descr="Flag: China on Apple iOS 14.6">
                <a:extLst>
                  <a:ext uri="{FF2B5EF4-FFF2-40B4-BE49-F238E27FC236}">
                    <a16:creationId xmlns:a16="http://schemas.microsoft.com/office/drawing/2014/main" id="{7326E3FD-6237-4E06-B551-6C400C252BA3}"/>
                  </a:ext>
                </a:extLst>
              </p:cNvPr>
              <p:cNvSpPr>
                <a:spLocks noChangeAspect="1" noChangeArrowheads="1"/>
              </p:cNvSpPr>
              <p:nvPr/>
            </p:nvSpPr>
            <p:spPr bwMode="auto">
              <a:xfrm>
                <a:off x="911900" y="2808119"/>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69" name="AutoShape 2" descr="Flag: China on Apple iOS 14.6">
                <a:extLst>
                  <a:ext uri="{FF2B5EF4-FFF2-40B4-BE49-F238E27FC236}">
                    <a16:creationId xmlns:a16="http://schemas.microsoft.com/office/drawing/2014/main" id="{D84B72DC-0131-45C3-BEDE-C1AD65764AFE}"/>
                  </a:ext>
                </a:extLst>
              </p:cNvPr>
              <p:cNvSpPr>
                <a:spLocks noChangeAspect="1" noChangeArrowheads="1"/>
              </p:cNvSpPr>
              <p:nvPr/>
            </p:nvSpPr>
            <p:spPr bwMode="auto">
              <a:xfrm>
                <a:off x="1026200" y="2922419"/>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75" name="TextBox 174">
              <a:extLst>
                <a:ext uri="{FF2B5EF4-FFF2-40B4-BE49-F238E27FC236}">
                  <a16:creationId xmlns:a16="http://schemas.microsoft.com/office/drawing/2014/main" id="{7DBCF2FA-1BB1-41B9-8BA9-72EBA00C3717}"/>
                </a:ext>
              </a:extLst>
            </p:cNvPr>
            <p:cNvSpPr txBox="1"/>
            <p:nvPr/>
          </p:nvSpPr>
          <p:spPr>
            <a:xfrm>
              <a:off x="793649" y="1662855"/>
              <a:ext cx="3060000" cy="692497"/>
            </a:xfrm>
            <a:prstGeom prst="rect">
              <a:avLst/>
            </a:prstGeom>
            <a:noFill/>
          </p:spPr>
          <p:txBody>
            <a:bodyPr wrap="square" lIns="36000" tIns="0" rIns="36000" bIns="0" rtlCol="0">
              <a:spAutoFit/>
            </a:bodyPr>
            <a:lstStyle/>
            <a:p>
              <a:pPr algn="l"/>
              <a:r>
                <a:rPr lang="en-AU" sz="1800" b="1" dirty="0">
                  <a:solidFill>
                    <a:srgbClr val="2167AE"/>
                  </a:solidFill>
                </a:rPr>
                <a:t>Multi Country </a:t>
              </a:r>
              <a:r>
                <a:rPr lang="en-AU" sz="900" dirty="0">
                  <a:solidFill>
                    <a:srgbClr val="2167AE"/>
                  </a:solidFill>
                </a:rPr>
                <a:t>implementation across many Asian countries. Opportunity to work across cultures and diversity of challenges</a:t>
              </a:r>
              <a:endParaRPr lang="en-AU" sz="1800" dirty="0">
                <a:solidFill>
                  <a:srgbClr val="2167AE"/>
                </a:solidFill>
              </a:endParaRPr>
            </a:p>
          </p:txBody>
        </p:sp>
      </p:grpSp>
      <p:grpSp>
        <p:nvGrpSpPr>
          <p:cNvPr id="188" name="Group 187">
            <a:extLst>
              <a:ext uri="{FF2B5EF4-FFF2-40B4-BE49-F238E27FC236}">
                <a16:creationId xmlns:a16="http://schemas.microsoft.com/office/drawing/2014/main" id="{E97DD9F5-416B-4282-A2D4-BFB14477ABC2}"/>
              </a:ext>
            </a:extLst>
          </p:cNvPr>
          <p:cNvGrpSpPr/>
          <p:nvPr/>
        </p:nvGrpSpPr>
        <p:grpSpPr>
          <a:xfrm>
            <a:off x="4905919" y="2785912"/>
            <a:ext cx="3580669" cy="415498"/>
            <a:chOff x="4905919" y="2654936"/>
            <a:chExt cx="3580669" cy="415498"/>
          </a:xfrm>
        </p:grpSpPr>
        <p:pic>
          <p:nvPicPr>
            <p:cNvPr id="3074" name="Picture 2" descr="What is DevOps? - Automation Consultants">
              <a:extLst>
                <a:ext uri="{FF2B5EF4-FFF2-40B4-BE49-F238E27FC236}">
                  <a16:creationId xmlns:a16="http://schemas.microsoft.com/office/drawing/2014/main" id="{E9EB6FC1-776E-4F7E-BDBA-EC8A0654F37D}"/>
                </a:ext>
              </a:extLst>
            </p:cNvPr>
            <p:cNvPicPr>
              <a:picLocks noChangeAspect="1" noChangeArrowheads="1"/>
            </p:cNvPicPr>
            <p:nvPr/>
          </p:nvPicPr>
          <p:blipFill>
            <a:blip r:embed="rId1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05919" y="2752194"/>
              <a:ext cx="442833" cy="220983"/>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a:extLst>
                <a:ext uri="{FF2B5EF4-FFF2-40B4-BE49-F238E27FC236}">
                  <a16:creationId xmlns:a16="http://schemas.microsoft.com/office/drawing/2014/main" id="{1996C989-C161-4BE0-A92A-E0481335CEB9}"/>
                </a:ext>
              </a:extLst>
            </p:cNvPr>
            <p:cNvSpPr txBox="1"/>
            <p:nvPr/>
          </p:nvSpPr>
          <p:spPr>
            <a:xfrm>
              <a:off x="5426588" y="2654936"/>
              <a:ext cx="3060000" cy="415498"/>
            </a:xfrm>
            <a:prstGeom prst="rect">
              <a:avLst/>
            </a:prstGeom>
            <a:noFill/>
          </p:spPr>
          <p:txBody>
            <a:bodyPr wrap="square" lIns="36000" tIns="0" rIns="36000" bIns="0" rtlCol="0">
              <a:spAutoFit/>
            </a:bodyPr>
            <a:lstStyle/>
            <a:p>
              <a:pPr algn="l"/>
              <a:r>
                <a:rPr lang="en-AU" sz="1800" b="1" dirty="0">
                  <a:solidFill>
                    <a:srgbClr val="2167AE"/>
                  </a:solidFill>
                </a:rPr>
                <a:t>DevOps &amp; Agile </a:t>
              </a:r>
              <a:r>
                <a:rPr lang="en-AU" sz="900" dirty="0">
                  <a:solidFill>
                    <a:srgbClr val="2167AE"/>
                  </a:solidFill>
                </a:rPr>
                <a:t>from the ground up. Automated testing, CI/CD, Scrum.</a:t>
              </a:r>
            </a:p>
          </p:txBody>
        </p:sp>
      </p:grpSp>
      <p:grpSp>
        <p:nvGrpSpPr>
          <p:cNvPr id="186" name="Group 185">
            <a:extLst>
              <a:ext uri="{FF2B5EF4-FFF2-40B4-BE49-F238E27FC236}">
                <a16:creationId xmlns:a16="http://schemas.microsoft.com/office/drawing/2014/main" id="{68D63E04-4BF7-4CAF-8432-02E4B525EF05}"/>
              </a:ext>
            </a:extLst>
          </p:cNvPr>
          <p:cNvGrpSpPr/>
          <p:nvPr/>
        </p:nvGrpSpPr>
        <p:grpSpPr>
          <a:xfrm>
            <a:off x="4871620" y="4387288"/>
            <a:ext cx="3614968" cy="553998"/>
            <a:chOff x="4871620" y="4122409"/>
            <a:chExt cx="3614968" cy="553998"/>
          </a:xfrm>
        </p:grpSpPr>
        <p:pic>
          <p:nvPicPr>
            <p:cNvPr id="179" name="Graphic 178" descr="Handshake outline">
              <a:extLst>
                <a:ext uri="{FF2B5EF4-FFF2-40B4-BE49-F238E27FC236}">
                  <a16:creationId xmlns:a16="http://schemas.microsoft.com/office/drawing/2014/main" id="{1D0AE606-B70B-400B-BB28-7C4821C22E6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871620" y="4143693"/>
              <a:ext cx="511431" cy="511431"/>
            </a:xfrm>
            <a:prstGeom prst="rect">
              <a:avLst/>
            </a:prstGeom>
          </p:spPr>
        </p:pic>
        <p:sp>
          <p:nvSpPr>
            <p:cNvPr id="181" name="TextBox 180">
              <a:extLst>
                <a:ext uri="{FF2B5EF4-FFF2-40B4-BE49-F238E27FC236}">
                  <a16:creationId xmlns:a16="http://schemas.microsoft.com/office/drawing/2014/main" id="{DFF935D1-F227-40EE-93BB-DADE6C66DAFD}"/>
                </a:ext>
              </a:extLst>
            </p:cNvPr>
            <p:cNvSpPr txBox="1"/>
            <p:nvPr/>
          </p:nvSpPr>
          <p:spPr>
            <a:xfrm>
              <a:off x="5426588" y="4122409"/>
              <a:ext cx="3060000" cy="553998"/>
            </a:xfrm>
            <a:prstGeom prst="rect">
              <a:avLst/>
            </a:prstGeom>
            <a:noFill/>
          </p:spPr>
          <p:txBody>
            <a:bodyPr wrap="square" lIns="36000" tIns="0" rIns="36000" bIns="0" rtlCol="0">
              <a:spAutoFit/>
            </a:bodyPr>
            <a:lstStyle/>
            <a:p>
              <a:pPr algn="l"/>
              <a:r>
                <a:rPr lang="en-AU" sz="1800" b="1" dirty="0">
                  <a:solidFill>
                    <a:srgbClr val="2167AE"/>
                  </a:solidFill>
                </a:rPr>
                <a:t>New Digital Tech Team</a:t>
              </a:r>
              <a:r>
                <a:rPr lang="en-AU" sz="900" dirty="0">
                  <a:solidFill>
                    <a:srgbClr val="2167AE"/>
                  </a:solidFill>
                </a:rPr>
                <a:t> establishment being established. Opportunity to shape teamwork, collaboration &amp; ways of working</a:t>
              </a:r>
            </a:p>
          </p:txBody>
        </p:sp>
      </p:grpSp>
      <p:grpSp>
        <p:nvGrpSpPr>
          <p:cNvPr id="185" name="Group 184">
            <a:extLst>
              <a:ext uri="{FF2B5EF4-FFF2-40B4-BE49-F238E27FC236}">
                <a16:creationId xmlns:a16="http://schemas.microsoft.com/office/drawing/2014/main" id="{A050EA7F-A047-4D5D-9E73-9877CFF71B65}"/>
              </a:ext>
            </a:extLst>
          </p:cNvPr>
          <p:cNvGrpSpPr/>
          <p:nvPr/>
        </p:nvGrpSpPr>
        <p:grpSpPr>
          <a:xfrm>
            <a:off x="322469" y="4491364"/>
            <a:ext cx="3531180" cy="415498"/>
            <a:chOff x="322469" y="4399408"/>
            <a:chExt cx="3531180" cy="415498"/>
          </a:xfrm>
        </p:grpSpPr>
        <p:sp>
          <p:nvSpPr>
            <p:cNvPr id="182" name="TextBox 181">
              <a:extLst>
                <a:ext uri="{FF2B5EF4-FFF2-40B4-BE49-F238E27FC236}">
                  <a16:creationId xmlns:a16="http://schemas.microsoft.com/office/drawing/2014/main" id="{DF8EF60D-94DD-4546-A0E4-3575DF8737AC}"/>
                </a:ext>
              </a:extLst>
            </p:cNvPr>
            <p:cNvSpPr txBox="1"/>
            <p:nvPr/>
          </p:nvSpPr>
          <p:spPr>
            <a:xfrm>
              <a:off x="793649" y="4399408"/>
              <a:ext cx="3060000" cy="415498"/>
            </a:xfrm>
            <a:prstGeom prst="rect">
              <a:avLst/>
            </a:prstGeom>
            <a:noFill/>
          </p:spPr>
          <p:txBody>
            <a:bodyPr wrap="square" lIns="36000" tIns="0" rIns="36000" bIns="0" rtlCol="0">
              <a:spAutoFit/>
            </a:bodyPr>
            <a:lstStyle/>
            <a:p>
              <a:pPr algn="l"/>
              <a:r>
                <a:rPr lang="en-AU" sz="1800" b="1" dirty="0">
                  <a:solidFill>
                    <a:srgbClr val="2167AE"/>
                  </a:solidFill>
                </a:rPr>
                <a:t>Creative Design </a:t>
              </a:r>
              <a:r>
                <a:rPr lang="en-AU" sz="900" dirty="0">
                  <a:solidFill>
                    <a:srgbClr val="2167AE"/>
                  </a:solidFill>
                </a:rPr>
                <a:t>is pillar of success. Opportunity to leverage and enhance design skills.</a:t>
              </a:r>
              <a:endParaRPr lang="en-AU" sz="1800" dirty="0">
                <a:solidFill>
                  <a:srgbClr val="2167AE"/>
                </a:solidFill>
              </a:endParaRPr>
            </a:p>
          </p:txBody>
        </p:sp>
        <p:pic>
          <p:nvPicPr>
            <p:cNvPr id="3076" name="Picture 4" descr="Smart Collaboration – Techlit SRL Unipersonale">
              <a:extLst>
                <a:ext uri="{FF2B5EF4-FFF2-40B4-BE49-F238E27FC236}">
                  <a16:creationId xmlns:a16="http://schemas.microsoft.com/office/drawing/2014/main" id="{3152BC7A-CA2F-47E2-B5CE-49A9A37A3360}"/>
                </a:ext>
              </a:extLst>
            </p:cNvPr>
            <p:cNvPicPr>
              <a:picLocks noChangeAspect="1" noChangeArrowheads="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2469" y="4468326"/>
              <a:ext cx="341823" cy="34182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69244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41AF89-4FCF-4003-B1D4-6E9B348582E6}"/>
              </a:ext>
            </a:extLst>
          </p:cNvPr>
          <p:cNvGraphicFramePr>
            <a:graphicFrameLocks noChangeAspect="1"/>
          </p:cNvGraphicFramePr>
          <p:nvPr>
            <p:custDataLst>
              <p:tags r:id="rId1"/>
            </p:custDataLst>
            <p:extLst>
              <p:ext uri="{D42A27DB-BD31-4B8C-83A1-F6EECF244321}">
                <p14:modId xmlns:p14="http://schemas.microsoft.com/office/powerpoint/2010/main" val="4218986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5" name="Object 4" hidden="1">
                        <a:extLst>
                          <a:ext uri="{FF2B5EF4-FFF2-40B4-BE49-F238E27FC236}">
                            <a16:creationId xmlns:a16="http://schemas.microsoft.com/office/drawing/2014/main" id="{2141AF89-4FCF-4003-B1D4-6E9B348582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 name="Rectángulo 5">
            <a:extLst>
              <a:ext uri="{FF2B5EF4-FFF2-40B4-BE49-F238E27FC236}">
                <a16:creationId xmlns:a16="http://schemas.microsoft.com/office/drawing/2014/main" id="{226EFFCA-4038-4252-B9B7-3A7EF0B5A02D}"/>
              </a:ext>
            </a:extLst>
          </p:cNvPr>
          <p:cNvSpPr/>
          <p:nvPr/>
        </p:nvSpPr>
        <p:spPr>
          <a:xfrm>
            <a:off x="1971189" y="2433948"/>
            <a:ext cx="4747643" cy="2496827"/>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ES" sz="825">
              <a:solidFill>
                <a:srgbClr val="FFFFFF"/>
              </a:solidFill>
              <a:latin typeface="Frutiger 55 Roman"/>
            </a:endParaRPr>
          </a:p>
        </p:txBody>
      </p:sp>
      <p:sp>
        <p:nvSpPr>
          <p:cNvPr id="112" name="Rectángulo 5">
            <a:extLst>
              <a:ext uri="{FF2B5EF4-FFF2-40B4-BE49-F238E27FC236}">
                <a16:creationId xmlns:a16="http://schemas.microsoft.com/office/drawing/2014/main" id="{AEBAE43B-902B-4071-8D4E-6490821E163A}"/>
              </a:ext>
            </a:extLst>
          </p:cNvPr>
          <p:cNvSpPr/>
          <p:nvPr/>
        </p:nvSpPr>
        <p:spPr>
          <a:xfrm>
            <a:off x="1971164" y="1606288"/>
            <a:ext cx="4749304" cy="833887"/>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ES" sz="825">
              <a:solidFill>
                <a:srgbClr val="FFFFFF"/>
              </a:solidFill>
              <a:latin typeface="Frutiger 55 Roman"/>
            </a:endParaRPr>
          </a:p>
        </p:txBody>
      </p:sp>
      <p:sp>
        <p:nvSpPr>
          <p:cNvPr id="3" name="Title 2">
            <a:extLst>
              <a:ext uri="{FF2B5EF4-FFF2-40B4-BE49-F238E27FC236}">
                <a16:creationId xmlns:a16="http://schemas.microsoft.com/office/drawing/2014/main" id="{BCF31B12-263F-4832-906B-0906A44839F4}"/>
              </a:ext>
            </a:extLst>
          </p:cNvPr>
          <p:cNvSpPr>
            <a:spLocks noGrp="1"/>
          </p:cNvSpPr>
          <p:nvPr>
            <p:ph type="title"/>
          </p:nvPr>
        </p:nvSpPr>
        <p:spPr>
          <a:xfrm>
            <a:off x="250825" y="244475"/>
            <a:ext cx="7696835" cy="294078"/>
          </a:xfrm>
        </p:spPr>
        <p:txBody>
          <a:bodyPr vert="horz">
            <a:noAutofit/>
          </a:bodyPr>
          <a:lstStyle/>
          <a:p>
            <a:r>
              <a:rPr lang="en-AU" sz="1400" dirty="0"/>
              <a:t>End-to-end </a:t>
            </a:r>
            <a:r>
              <a:rPr lang="en-AU" sz="1400" dirty="0" err="1"/>
              <a:t>greenfields</a:t>
            </a:r>
            <a:r>
              <a:rPr lang="en-AU" sz="1400" dirty="0"/>
              <a:t> retail IT landscape will be established </a:t>
            </a:r>
          </a:p>
        </p:txBody>
      </p:sp>
      <p:sp>
        <p:nvSpPr>
          <p:cNvPr id="4" name="Slide Number Placeholder 3">
            <a:extLst>
              <a:ext uri="{FF2B5EF4-FFF2-40B4-BE49-F238E27FC236}">
                <a16:creationId xmlns:a16="http://schemas.microsoft.com/office/drawing/2014/main" id="{5A80D43D-BEA1-47DD-AE5E-C520F052FAA8}"/>
              </a:ext>
            </a:extLst>
          </p:cNvPr>
          <p:cNvSpPr>
            <a:spLocks noGrp="1"/>
          </p:cNvSpPr>
          <p:nvPr>
            <p:ph type="sldNum" sz="quarter" idx="23"/>
          </p:nvPr>
        </p:nvSpPr>
        <p:spPr/>
        <p:txBody>
          <a:bodyPr/>
          <a:lstStyle/>
          <a:p>
            <a:fld id="{D691331D-A62F-41F8-BAEC-0A7727B7C525}" type="slidenum">
              <a:rPr lang="en-GB" smtClean="0"/>
              <a:pPr/>
              <a:t>2</a:t>
            </a:fld>
            <a:endParaRPr lang="en-GB" dirty="0"/>
          </a:p>
        </p:txBody>
      </p:sp>
      <p:sp>
        <p:nvSpPr>
          <p:cNvPr id="8" name="Rectangle 7">
            <a:extLst>
              <a:ext uri="{FF2B5EF4-FFF2-40B4-BE49-F238E27FC236}">
                <a16:creationId xmlns:a16="http://schemas.microsoft.com/office/drawing/2014/main" id="{E52E6AE1-2E42-4EB4-9E86-2671677CD359}"/>
              </a:ext>
            </a:extLst>
          </p:cNvPr>
          <p:cNvSpPr/>
          <p:nvPr/>
        </p:nvSpPr>
        <p:spPr>
          <a:xfrm>
            <a:off x="4102437" y="2846223"/>
            <a:ext cx="1785452" cy="765368"/>
          </a:xfrm>
          <a:prstGeom prst="rect">
            <a:avLst/>
          </a:prstGeom>
          <a:solidFill>
            <a:schemeClr val="bg1"/>
          </a:solidFill>
          <a:ln w="12700" cap="flat">
            <a:solidFill>
              <a:srgbClr val="2167AE"/>
            </a:solidFill>
            <a:prstDash val="solid"/>
            <a:miter/>
          </a:ln>
        </p:spPr>
        <p:txBody>
          <a:bodyPr lIns="72000" tIns="36000" rIns="72000" bIns="36000" rtlCol="0" anchor="t"/>
          <a:lstStyle/>
          <a:p>
            <a:pPr algn="ctr"/>
            <a:r>
              <a:rPr lang="en-AU" sz="800" b="1" dirty="0">
                <a:solidFill>
                  <a:srgbClr val="2167AE"/>
                </a:solidFill>
              </a:rPr>
              <a:t>Base Insurance Functions</a:t>
            </a:r>
          </a:p>
          <a:p>
            <a:pPr algn="ctr"/>
            <a:endParaRPr lang="en-AU" sz="600" dirty="0">
              <a:solidFill>
                <a:srgbClr val="2167AE"/>
              </a:solidFill>
            </a:endParaRPr>
          </a:p>
          <a:p>
            <a:pPr algn="ctr"/>
            <a:endParaRPr lang="en-AU" sz="600" dirty="0">
              <a:solidFill>
                <a:srgbClr val="2167AE"/>
              </a:solidFill>
            </a:endParaRPr>
          </a:p>
          <a:p>
            <a:pPr algn="ctr"/>
            <a:r>
              <a:rPr lang="en-AU" sz="500" i="1" dirty="0">
                <a:solidFill>
                  <a:srgbClr val="2167AE"/>
                </a:solidFill>
              </a:rPr>
              <a:t>New off the shelf platform</a:t>
            </a:r>
          </a:p>
          <a:p>
            <a:pPr algn="ctr"/>
            <a:endParaRPr lang="en-AU" sz="500" i="1" dirty="0">
              <a:solidFill>
                <a:srgbClr val="2167AE"/>
              </a:solidFill>
            </a:endParaRPr>
          </a:p>
          <a:p>
            <a:pPr algn="ctr"/>
            <a:r>
              <a:rPr lang="en-AU" sz="500" i="1" dirty="0">
                <a:solidFill>
                  <a:srgbClr val="2167AE"/>
                </a:solidFill>
              </a:rPr>
              <a:t>To be configured with Zurich products &amp; processes</a:t>
            </a:r>
          </a:p>
          <a:p>
            <a:pPr algn="ctr"/>
            <a:endParaRPr lang="en-AU" sz="800" b="1" dirty="0">
              <a:solidFill>
                <a:srgbClr val="2167AE"/>
              </a:solidFill>
            </a:endParaRPr>
          </a:p>
        </p:txBody>
      </p:sp>
      <p:sp>
        <p:nvSpPr>
          <p:cNvPr id="16" name="Oval 15">
            <a:extLst>
              <a:ext uri="{FF2B5EF4-FFF2-40B4-BE49-F238E27FC236}">
                <a16:creationId xmlns:a16="http://schemas.microsoft.com/office/drawing/2014/main" id="{7DB30DD5-A110-4423-B9B9-4E12B45A0260}"/>
              </a:ext>
            </a:extLst>
          </p:cNvPr>
          <p:cNvSpPr/>
          <p:nvPr/>
        </p:nvSpPr>
        <p:spPr>
          <a:xfrm>
            <a:off x="4064910" y="2821650"/>
            <a:ext cx="287270" cy="170383"/>
          </a:xfrm>
          <a:prstGeom prst="ellipse">
            <a:avLst/>
          </a:prstGeom>
          <a:solidFill>
            <a:srgbClr val="2167AE"/>
          </a:solidFill>
          <a:ln w="2884" cap="flat">
            <a:solidFill>
              <a:srgbClr val="2167AE"/>
            </a:solidFill>
            <a:prstDash val="solid"/>
            <a:miter/>
          </a:ln>
        </p:spPr>
        <p:txBody>
          <a:bodyPr lIns="0" tIns="36000" rIns="0" bIns="36000" rtlCol="0" anchor="ctr"/>
          <a:lstStyle/>
          <a:p>
            <a:pPr algn="ctr"/>
            <a:r>
              <a:rPr lang="en-AU" sz="800" b="1">
                <a:solidFill>
                  <a:schemeClr val="bg1"/>
                </a:solidFill>
              </a:rPr>
              <a:t>6</a:t>
            </a:r>
          </a:p>
        </p:txBody>
      </p:sp>
      <p:sp>
        <p:nvSpPr>
          <p:cNvPr id="18" name="Rectangle 17">
            <a:extLst>
              <a:ext uri="{FF2B5EF4-FFF2-40B4-BE49-F238E27FC236}">
                <a16:creationId xmlns:a16="http://schemas.microsoft.com/office/drawing/2014/main" id="{E972B64D-43EC-4FB2-B7DF-A657533361E2}"/>
              </a:ext>
            </a:extLst>
          </p:cNvPr>
          <p:cNvSpPr/>
          <p:nvPr/>
        </p:nvSpPr>
        <p:spPr>
          <a:xfrm>
            <a:off x="3068468" y="3659516"/>
            <a:ext cx="2819421" cy="282133"/>
          </a:xfrm>
          <a:prstGeom prst="rect">
            <a:avLst/>
          </a:prstGeom>
          <a:solidFill>
            <a:srgbClr val="BFEFC2"/>
          </a:solidFill>
          <a:ln w="22225" cap="flat">
            <a:solidFill>
              <a:srgbClr val="00A249"/>
            </a:solidFill>
            <a:prstDash val="solid"/>
            <a:miter/>
          </a:ln>
        </p:spPr>
        <p:txBody>
          <a:bodyPr lIns="72000" tIns="36000" rIns="72000" bIns="36000" rtlCol="0" anchor="t"/>
          <a:lstStyle/>
          <a:p>
            <a:pPr algn="ctr"/>
            <a:r>
              <a:rPr lang="en-AU" sz="700" dirty="0">
                <a:solidFill>
                  <a:srgbClr val="2167AE"/>
                </a:solidFill>
              </a:rPr>
              <a:t>Downstream Integration</a:t>
            </a:r>
          </a:p>
          <a:p>
            <a:pPr algn="ctr"/>
            <a:r>
              <a:rPr lang="en-AU" sz="500" dirty="0">
                <a:solidFill>
                  <a:srgbClr val="2167AE"/>
                </a:solidFill>
              </a:rPr>
              <a:t>Custom build / </a:t>
            </a:r>
            <a:r>
              <a:rPr lang="en-AU" sz="500" dirty="0" err="1">
                <a:solidFill>
                  <a:srgbClr val="2167AE"/>
                </a:solidFill>
              </a:rPr>
              <a:t>Mulesoft</a:t>
            </a:r>
            <a:endParaRPr lang="en-AU" sz="800" dirty="0">
              <a:solidFill>
                <a:srgbClr val="2167AE"/>
              </a:solidFill>
            </a:endParaRPr>
          </a:p>
        </p:txBody>
      </p:sp>
      <p:sp>
        <p:nvSpPr>
          <p:cNvPr id="19" name="Oval 18">
            <a:extLst>
              <a:ext uri="{FF2B5EF4-FFF2-40B4-BE49-F238E27FC236}">
                <a16:creationId xmlns:a16="http://schemas.microsoft.com/office/drawing/2014/main" id="{9089A219-5A0D-424F-AC47-8290467F31DA}"/>
              </a:ext>
            </a:extLst>
          </p:cNvPr>
          <p:cNvSpPr/>
          <p:nvPr/>
        </p:nvSpPr>
        <p:spPr>
          <a:xfrm>
            <a:off x="3013679" y="3645130"/>
            <a:ext cx="287270" cy="170383"/>
          </a:xfrm>
          <a:prstGeom prst="ellipse">
            <a:avLst/>
          </a:prstGeom>
          <a:solidFill>
            <a:srgbClr val="2167AE"/>
          </a:solidFill>
          <a:ln w="2884" cap="flat">
            <a:solidFill>
              <a:srgbClr val="2167AE"/>
            </a:solidFill>
            <a:prstDash val="solid"/>
            <a:miter/>
          </a:ln>
        </p:spPr>
        <p:txBody>
          <a:bodyPr lIns="0" tIns="36000" rIns="0" bIns="36000" rtlCol="0" anchor="ctr"/>
          <a:lstStyle/>
          <a:p>
            <a:pPr algn="ctr"/>
            <a:r>
              <a:rPr lang="en-AU" sz="800" b="1" dirty="0">
                <a:solidFill>
                  <a:schemeClr val="bg1"/>
                </a:solidFill>
              </a:rPr>
              <a:t>2.2</a:t>
            </a:r>
          </a:p>
        </p:txBody>
      </p:sp>
      <p:sp>
        <p:nvSpPr>
          <p:cNvPr id="20" name="Rectangle 19">
            <a:extLst>
              <a:ext uri="{FF2B5EF4-FFF2-40B4-BE49-F238E27FC236}">
                <a16:creationId xmlns:a16="http://schemas.microsoft.com/office/drawing/2014/main" id="{4688D630-4B44-40CB-BC70-20BC7595ED09}"/>
              </a:ext>
            </a:extLst>
          </p:cNvPr>
          <p:cNvSpPr/>
          <p:nvPr/>
        </p:nvSpPr>
        <p:spPr>
          <a:xfrm>
            <a:off x="5978694" y="1699918"/>
            <a:ext cx="614057" cy="2563115"/>
          </a:xfrm>
          <a:prstGeom prst="rect">
            <a:avLst/>
          </a:prstGeom>
          <a:solidFill>
            <a:srgbClr val="BFEFC2"/>
          </a:solidFill>
          <a:ln w="28575" cap="flat">
            <a:solidFill>
              <a:srgbClr val="00B050"/>
            </a:solidFill>
            <a:prstDash val="solid"/>
            <a:miter/>
          </a:ln>
        </p:spPr>
        <p:txBody>
          <a:bodyPr lIns="72000" tIns="72000" rIns="72000" bIns="36000" rtlCol="0" anchor="t"/>
          <a:lstStyle/>
          <a:p>
            <a:pPr algn="ctr"/>
            <a:r>
              <a:rPr lang="en-AU" sz="800" b="1" dirty="0">
                <a:solidFill>
                  <a:srgbClr val="2167AE"/>
                </a:solidFill>
              </a:rPr>
              <a:t>Data Analytics</a:t>
            </a:r>
          </a:p>
          <a:p>
            <a:pPr algn="ctr"/>
            <a:endParaRPr lang="en-AU" sz="800" b="1" dirty="0">
              <a:solidFill>
                <a:srgbClr val="2167AE"/>
              </a:solidFill>
            </a:endParaRPr>
          </a:p>
          <a:p>
            <a:pPr algn="ctr"/>
            <a:r>
              <a:rPr lang="en-AU" sz="600" dirty="0">
                <a:solidFill>
                  <a:srgbClr val="2167AE"/>
                </a:solidFill>
              </a:rPr>
              <a:t>Custom Build</a:t>
            </a:r>
          </a:p>
          <a:p>
            <a:pPr algn="ctr"/>
            <a:endParaRPr lang="en-AU" sz="800" b="1" dirty="0">
              <a:solidFill>
                <a:srgbClr val="2167AE"/>
              </a:solidFill>
            </a:endParaRPr>
          </a:p>
        </p:txBody>
      </p:sp>
      <p:sp>
        <p:nvSpPr>
          <p:cNvPr id="24" name="Rectangle 23">
            <a:extLst>
              <a:ext uri="{FF2B5EF4-FFF2-40B4-BE49-F238E27FC236}">
                <a16:creationId xmlns:a16="http://schemas.microsoft.com/office/drawing/2014/main" id="{0388D1F1-0219-49C6-9351-77857709FDE3}"/>
              </a:ext>
            </a:extLst>
          </p:cNvPr>
          <p:cNvSpPr/>
          <p:nvPr/>
        </p:nvSpPr>
        <p:spPr>
          <a:xfrm>
            <a:off x="3068469" y="1699920"/>
            <a:ext cx="833788" cy="708323"/>
          </a:xfrm>
          <a:prstGeom prst="rect">
            <a:avLst/>
          </a:prstGeom>
          <a:solidFill>
            <a:srgbClr val="BFEFC2"/>
          </a:solidFill>
          <a:ln w="22225" cap="flat">
            <a:solidFill>
              <a:srgbClr val="00A249"/>
            </a:solidFill>
            <a:prstDash val="solid"/>
            <a:miter/>
          </a:ln>
        </p:spPr>
        <p:txBody>
          <a:bodyPr lIns="36000" tIns="72000" rIns="36000" bIns="36000" rtlCol="0" anchor="t"/>
          <a:lstStyle/>
          <a:p>
            <a:pPr algn="ctr"/>
            <a:r>
              <a:rPr lang="en-AU" sz="800" b="1" dirty="0">
                <a:solidFill>
                  <a:srgbClr val="2167AE"/>
                </a:solidFill>
              </a:rPr>
              <a:t>Customer</a:t>
            </a:r>
          </a:p>
          <a:p>
            <a:pPr algn="ctr"/>
            <a:r>
              <a:rPr lang="en-AU" sz="800" b="1" dirty="0">
                <a:solidFill>
                  <a:srgbClr val="2167AE"/>
                </a:solidFill>
              </a:rPr>
              <a:t>Web</a:t>
            </a:r>
          </a:p>
          <a:p>
            <a:pPr algn="ctr"/>
            <a:endParaRPr lang="en-AU" sz="800" b="1" dirty="0">
              <a:solidFill>
                <a:srgbClr val="2167AE"/>
              </a:solidFill>
            </a:endParaRPr>
          </a:p>
          <a:p>
            <a:pPr algn="ctr"/>
            <a:r>
              <a:rPr lang="en-AU" sz="600" i="1" dirty="0">
                <a:solidFill>
                  <a:srgbClr val="2167AE"/>
                </a:solidFill>
              </a:rPr>
              <a:t>Custom build</a:t>
            </a:r>
            <a:endParaRPr lang="en-AU" sz="700" i="1" dirty="0">
              <a:solidFill>
                <a:srgbClr val="2167AE"/>
              </a:solidFill>
            </a:endParaRPr>
          </a:p>
          <a:p>
            <a:pPr algn="ctr"/>
            <a:endParaRPr lang="en-AU" sz="800" b="1" dirty="0">
              <a:solidFill>
                <a:srgbClr val="2167AE"/>
              </a:solidFill>
            </a:endParaRPr>
          </a:p>
        </p:txBody>
      </p:sp>
      <p:sp>
        <p:nvSpPr>
          <p:cNvPr id="25" name="Oval 24">
            <a:extLst>
              <a:ext uri="{FF2B5EF4-FFF2-40B4-BE49-F238E27FC236}">
                <a16:creationId xmlns:a16="http://schemas.microsoft.com/office/drawing/2014/main" id="{B78124F2-7BD8-4302-8721-F5464302B617}"/>
              </a:ext>
            </a:extLst>
          </p:cNvPr>
          <p:cNvSpPr/>
          <p:nvPr/>
        </p:nvSpPr>
        <p:spPr>
          <a:xfrm>
            <a:off x="3034256" y="1606216"/>
            <a:ext cx="287270" cy="170383"/>
          </a:xfrm>
          <a:prstGeom prst="ellipse">
            <a:avLst/>
          </a:prstGeom>
          <a:solidFill>
            <a:srgbClr val="2167AE"/>
          </a:solidFill>
          <a:ln w="2884" cap="flat">
            <a:solidFill>
              <a:srgbClr val="2167AE"/>
            </a:solidFill>
            <a:prstDash val="solid"/>
            <a:miter/>
          </a:ln>
        </p:spPr>
        <p:txBody>
          <a:bodyPr lIns="0" tIns="36000" rIns="0" bIns="36000" rtlCol="0" anchor="ctr"/>
          <a:lstStyle/>
          <a:p>
            <a:pPr algn="ctr"/>
            <a:r>
              <a:rPr lang="en-AU" sz="800" b="1">
                <a:solidFill>
                  <a:schemeClr val="bg1"/>
                </a:solidFill>
              </a:rPr>
              <a:t>1</a:t>
            </a:r>
          </a:p>
        </p:txBody>
      </p:sp>
      <p:sp>
        <p:nvSpPr>
          <p:cNvPr id="26" name="Rectangle 25">
            <a:extLst>
              <a:ext uri="{FF2B5EF4-FFF2-40B4-BE49-F238E27FC236}">
                <a16:creationId xmlns:a16="http://schemas.microsoft.com/office/drawing/2014/main" id="{5E320E10-65E5-4168-90FC-45880DA5D86C}"/>
              </a:ext>
            </a:extLst>
          </p:cNvPr>
          <p:cNvSpPr/>
          <p:nvPr/>
        </p:nvSpPr>
        <p:spPr>
          <a:xfrm>
            <a:off x="5072493" y="1699919"/>
            <a:ext cx="751388" cy="702156"/>
          </a:xfrm>
          <a:prstGeom prst="rect">
            <a:avLst/>
          </a:prstGeom>
          <a:solidFill>
            <a:srgbClr val="BFEFC2"/>
          </a:solidFill>
          <a:ln w="22225" cap="flat">
            <a:solidFill>
              <a:srgbClr val="00A249"/>
            </a:solidFill>
            <a:prstDash val="solid"/>
            <a:miter/>
          </a:ln>
        </p:spPr>
        <p:txBody>
          <a:bodyPr lIns="36000" tIns="72000" rIns="36000" bIns="36000" rtlCol="0" anchor="t"/>
          <a:lstStyle/>
          <a:p>
            <a:pPr algn="ctr"/>
            <a:r>
              <a:rPr lang="en-AU" sz="800" b="1" dirty="0">
                <a:solidFill>
                  <a:srgbClr val="2167AE"/>
                </a:solidFill>
              </a:rPr>
              <a:t>Partner Accelerators </a:t>
            </a:r>
          </a:p>
          <a:p>
            <a:pPr algn="ctr"/>
            <a:r>
              <a:rPr lang="en-AU" sz="600" dirty="0">
                <a:solidFill>
                  <a:srgbClr val="2167AE"/>
                </a:solidFill>
              </a:rPr>
              <a:t>(SDKs /Widgets)</a:t>
            </a:r>
          </a:p>
          <a:p>
            <a:pPr algn="ctr"/>
            <a:endParaRPr lang="en-AU" sz="800" b="1" dirty="0">
              <a:solidFill>
                <a:srgbClr val="2167AE"/>
              </a:solidFill>
            </a:endParaRPr>
          </a:p>
          <a:p>
            <a:pPr algn="ctr"/>
            <a:r>
              <a:rPr lang="en-AU" sz="600" i="1" dirty="0">
                <a:solidFill>
                  <a:srgbClr val="2167AE"/>
                </a:solidFill>
              </a:rPr>
              <a:t>Custom build</a:t>
            </a:r>
          </a:p>
          <a:p>
            <a:pPr algn="ctr"/>
            <a:endParaRPr lang="en-AU" sz="800" b="1" dirty="0">
              <a:solidFill>
                <a:srgbClr val="2167AE"/>
              </a:solidFill>
            </a:endParaRPr>
          </a:p>
        </p:txBody>
      </p:sp>
      <p:sp>
        <p:nvSpPr>
          <p:cNvPr id="30" name="Rectangle 29">
            <a:extLst>
              <a:ext uri="{FF2B5EF4-FFF2-40B4-BE49-F238E27FC236}">
                <a16:creationId xmlns:a16="http://schemas.microsoft.com/office/drawing/2014/main" id="{F0EE34F3-A4A5-45C3-908F-487A38F9869C}"/>
              </a:ext>
            </a:extLst>
          </p:cNvPr>
          <p:cNvSpPr/>
          <p:nvPr/>
        </p:nvSpPr>
        <p:spPr>
          <a:xfrm>
            <a:off x="4051533" y="1699919"/>
            <a:ext cx="867099" cy="797553"/>
          </a:xfrm>
          <a:prstGeom prst="rect">
            <a:avLst/>
          </a:prstGeom>
          <a:solidFill>
            <a:srgbClr val="BFEFC2"/>
          </a:solidFill>
          <a:ln w="22225" cap="flat">
            <a:solidFill>
              <a:srgbClr val="00A249"/>
            </a:solidFill>
            <a:prstDash val="solid"/>
            <a:miter/>
          </a:ln>
        </p:spPr>
        <p:txBody>
          <a:bodyPr lIns="36000" tIns="72000" rIns="36000" bIns="36000" rtlCol="0" anchor="t"/>
          <a:lstStyle/>
          <a:p>
            <a:pPr algn="ctr"/>
            <a:r>
              <a:rPr lang="en-AU" sz="800" b="1" dirty="0">
                <a:solidFill>
                  <a:srgbClr val="2167AE"/>
                </a:solidFill>
              </a:rPr>
              <a:t>Partner APIs</a:t>
            </a:r>
          </a:p>
          <a:p>
            <a:pPr algn="ctr"/>
            <a:endParaRPr lang="en-AU" sz="800" b="1" dirty="0">
              <a:solidFill>
                <a:srgbClr val="2167AE"/>
              </a:solidFill>
            </a:endParaRPr>
          </a:p>
          <a:p>
            <a:pPr algn="ctr"/>
            <a:endParaRPr lang="en-AU" sz="800" b="1" dirty="0">
              <a:solidFill>
                <a:srgbClr val="2167AE"/>
              </a:solidFill>
            </a:endParaRPr>
          </a:p>
          <a:p>
            <a:pPr algn="ctr"/>
            <a:r>
              <a:rPr lang="en-AU" sz="600" i="1" dirty="0">
                <a:solidFill>
                  <a:srgbClr val="2167AE"/>
                </a:solidFill>
              </a:rPr>
              <a:t>Custom build</a:t>
            </a:r>
          </a:p>
          <a:p>
            <a:pPr algn="ctr"/>
            <a:r>
              <a:rPr lang="en-AU" sz="600" i="1" dirty="0">
                <a:solidFill>
                  <a:srgbClr val="2167AE"/>
                </a:solidFill>
              </a:rPr>
              <a:t>/ MuleSoft</a:t>
            </a:r>
          </a:p>
          <a:p>
            <a:pPr algn="ctr"/>
            <a:endParaRPr lang="en-AU" sz="800" b="1" dirty="0">
              <a:solidFill>
                <a:srgbClr val="2167AE"/>
              </a:solidFill>
            </a:endParaRPr>
          </a:p>
        </p:txBody>
      </p:sp>
      <p:sp>
        <p:nvSpPr>
          <p:cNvPr id="31" name="Rectangle 30">
            <a:extLst>
              <a:ext uri="{FF2B5EF4-FFF2-40B4-BE49-F238E27FC236}">
                <a16:creationId xmlns:a16="http://schemas.microsoft.com/office/drawing/2014/main" id="{6B66786D-4A57-48C5-9D0C-801478F1D091}"/>
              </a:ext>
            </a:extLst>
          </p:cNvPr>
          <p:cNvSpPr/>
          <p:nvPr/>
        </p:nvSpPr>
        <p:spPr>
          <a:xfrm>
            <a:off x="3068469" y="2490018"/>
            <a:ext cx="2838416" cy="307475"/>
          </a:xfrm>
          <a:prstGeom prst="rect">
            <a:avLst/>
          </a:prstGeom>
          <a:solidFill>
            <a:srgbClr val="BFEFC2"/>
          </a:solidFill>
          <a:ln w="22225" cap="flat">
            <a:solidFill>
              <a:srgbClr val="00A249"/>
            </a:solidFill>
            <a:prstDash val="solid"/>
            <a:miter/>
          </a:ln>
        </p:spPr>
        <p:txBody>
          <a:bodyPr lIns="72000" tIns="36000" rIns="72000" bIns="36000" rtlCol="0" anchor="ctr"/>
          <a:lstStyle/>
          <a:p>
            <a:pPr algn="ctr"/>
            <a:r>
              <a:rPr lang="en-AU" sz="700" dirty="0">
                <a:solidFill>
                  <a:srgbClr val="2167AE"/>
                </a:solidFill>
              </a:rPr>
              <a:t>Upstream Integration</a:t>
            </a:r>
            <a:endParaRPr lang="en-AU" sz="800" dirty="0">
              <a:solidFill>
                <a:srgbClr val="2167AE"/>
              </a:solidFill>
            </a:endParaRPr>
          </a:p>
        </p:txBody>
      </p:sp>
      <p:sp>
        <p:nvSpPr>
          <p:cNvPr id="34" name="Oval 33">
            <a:extLst>
              <a:ext uri="{FF2B5EF4-FFF2-40B4-BE49-F238E27FC236}">
                <a16:creationId xmlns:a16="http://schemas.microsoft.com/office/drawing/2014/main" id="{9E13487F-21FD-4CBB-8463-8319114DE6FE}"/>
              </a:ext>
            </a:extLst>
          </p:cNvPr>
          <p:cNvSpPr/>
          <p:nvPr/>
        </p:nvSpPr>
        <p:spPr>
          <a:xfrm>
            <a:off x="4050788" y="1606216"/>
            <a:ext cx="287270" cy="170383"/>
          </a:xfrm>
          <a:prstGeom prst="ellipse">
            <a:avLst/>
          </a:prstGeom>
          <a:solidFill>
            <a:srgbClr val="2167AE"/>
          </a:solidFill>
          <a:ln w="2884" cap="flat">
            <a:solidFill>
              <a:srgbClr val="2167AE"/>
            </a:solidFill>
            <a:prstDash val="solid"/>
            <a:miter/>
          </a:ln>
        </p:spPr>
        <p:txBody>
          <a:bodyPr lIns="0" tIns="36000" rIns="0" bIns="36000" rtlCol="0" anchor="ctr"/>
          <a:lstStyle/>
          <a:p>
            <a:pPr algn="ctr"/>
            <a:r>
              <a:rPr lang="en-AU" sz="800" b="1">
                <a:solidFill>
                  <a:schemeClr val="bg1"/>
                </a:solidFill>
              </a:rPr>
              <a:t>2</a:t>
            </a:r>
          </a:p>
        </p:txBody>
      </p:sp>
      <p:sp>
        <p:nvSpPr>
          <p:cNvPr id="35" name="Oval 34">
            <a:extLst>
              <a:ext uri="{FF2B5EF4-FFF2-40B4-BE49-F238E27FC236}">
                <a16:creationId xmlns:a16="http://schemas.microsoft.com/office/drawing/2014/main" id="{09AA43FE-2F87-4675-95EF-66B770C7E745}"/>
              </a:ext>
            </a:extLst>
          </p:cNvPr>
          <p:cNvSpPr/>
          <p:nvPr/>
        </p:nvSpPr>
        <p:spPr>
          <a:xfrm>
            <a:off x="5059543" y="1606216"/>
            <a:ext cx="287270" cy="170383"/>
          </a:xfrm>
          <a:prstGeom prst="ellipse">
            <a:avLst/>
          </a:prstGeom>
          <a:solidFill>
            <a:srgbClr val="2167AE"/>
          </a:solidFill>
          <a:ln w="2884" cap="flat">
            <a:solidFill>
              <a:srgbClr val="2167AE"/>
            </a:solidFill>
            <a:prstDash val="solid"/>
            <a:miter/>
          </a:ln>
        </p:spPr>
        <p:txBody>
          <a:bodyPr lIns="0" tIns="36000" rIns="0" bIns="36000" rtlCol="0" anchor="ctr"/>
          <a:lstStyle/>
          <a:p>
            <a:pPr algn="ctr"/>
            <a:r>
              <a:rPr lang="en-AU" sz="800" b="1">
                <a:solidFill>
                  <a:schemeClr val="bg1"/>
                </a:solidFill>
              </a:rPr>
              <a:t>3</a:t>
            </a:r>
          </a:p>
        </p:txBody>
      </p:sp>
      <p:sp>
        <p:nvSpPr>
          <p:cNvPr id="37" name="Oval 36">
            <a:extLst>
              <a:ext uri="{FF2B5EF4-FFF2-40B4-BE49-F238E27FC236}">
                <a16:creationId xmlns:a16="http://schemas.microsoft.com/office/drawing/2014/main" id="{4DDAE490-5D28-4B19-BEEF-1A082309D6F2}"/>
              </a:ext>
            </a:extLst>
          </p:cNvPr>
          <p:cNvSpPr/>
          <p:nvPr/>
        </p:nvSpPr>
        <p:spPr>
          <a:xfrm>
            <a:off x="5846128" y="1606216"/>
            <a:ext cx="287270" cy="170383"/>
          </a:xfrm>
          <a:prstGeom prst="ellipse">
            <a:avLst/>
          </a:prstGeom>
          <a:solidFill>
            <a:srgbClr val="2167AE"/>
          </a:solidFill>
          <a:ln w="2884" cap="flat">
            <a:solidFill>
              <a:srgbClr val="2167AE"/>
            </a:solidFill>
            <a:prstDash val="solid"/>
            <a:miter/>
          </a:ln>
        </p:spPr>
        <p:txBody>
          <a:bodyPr lIns="0" tIns="36000" rIns="0" bIns="36000" rtlCol="0" anchor="ctr"/>
          <a:lstStyle/>
          <a:p>
            <a:pPr algn="ctr"/>
            <a:r>
              <a:rPr lang="en-AU" sz="800" b="1" dirty="0">
                <a:solidFill>
                  <a:schemeClr val="bg1"/>
                </a:solidFill>
              </a:rPr>
              <a:t>4</a:t>
            </a:r>
          </a:p>
        </p:txBody>
      </p:sp>
      <p:sp>
        <p:nvSpPr>
          <p:cNvPr id="38" name="Rectangle 37">
            <a:extLst>
              <a:ext uri="{FF2B5EF4-FFF2-40B4-BE49-F238E27FC236}">
                <a16:creationId xmlns:a16="http://schemas.microsoft.com/office/drawing/2014/main" id="{E81B1C1D-D398-4C78-8BCE-9A2C789818FB}"/>
              </a:ext>
            </a:extLst>
          </p:cNvPr>
          <p:cNvSpPr/>
          <p:nvPr/>
        </p:nvSpPr>
        <p:spPr>
          <a:xfrm>
            <a:off x="3862348" y="3988022"/>
            <a:ext cx="2044537" cy="910821"/>
          </a:xfrm>
          <a:prstGeom prst="rect">
            <a:avLst/>
          </a:prstGeom>
          <a:solidFill>
            <a:srgbClr val="FFFF00"/>
          </a:solidFill>
          <a:ln w="22225" cap="flat">
            <a:solidFill>
              <a:srgbClr val="BCB800"/>
            </a:solidFill>
            <a:prstDash val="solid"/>
            <a:miter/>
          </a:ln>
        </p:spPr>
        <p:txBody>
          <a:bodyPr lIns="36000" tIns="36000" rIns="36000" bIns="36000" rtlCol="0" anchor="ctr"/>
          <a:lstStyle/>
          <a:p>
            <a:pPr marL="92075" algn="ctr">
              <a:spcAft>
                <a:spcPts val="300"/>
              </a:spcAft>
            </a:pPr>
            <a:r>
              <a:rPr lang="en-AU" sz="700" b="1" dirty="0">
                <a:solidFill>
                  <a:srgbClr val="23366E"/>
                </a:solidFill>
              </a:rPr>
              <a:t>3rd party services / </a:t>
            </a:r>
          </a:p>
          <a:p>
            <a:pPr marL="92075" algn="ctr">
              <a:spcAft>
                <a:spcPts val="300"/>
              </a:spcAft>
            </a:pPr>
            <a:r>
              <a:rPr lang="en-AU" sz="700" b="1" dirty="0">
                <a:solidFill>
                  <a:srgbClr val="23366E"/>
                </a:solidFill>
              </a:rPr>
              <a:t>Microservices add-ons</a:t>
            </a:r>
          </a:p>
        </p:txBody>
      </p:sp>
      <p:sp>
        <p:nvSpPr>
          <p:cNvPr id="42" name="Oval 41">
            <a:extLst>
              <a:ext uri="{FF2B5EF4-FFF2-40B4-BE49-F238E27FC236}">
                <a16:creationId xmlns:a16="http://schemas.microsoft.com/office/drawing/2014/main" id="{F5CCD64A-80BD-4F14-A438-A66C23AE95A0}"/>
              </a:ext>
            </a:extLst>
          </p:cNvPr>
          <p:cNvSpPr/>
          <p:nvPr/>
        </p:nvSpPr>
        <p:spPr>
          <a:xfrm>
            <a:off x="3671037" y="3965690"/>
            <a:ext cx="287270" cy="170383"/>
          </a:xfrm>
          <a:prstGeom prst="ellipse">
            <a:avLst/>
          </a:prstGeom>
          <a:solidFill>
            <a:srgbClr val="2167AE"/>
          </a:solidFill>
          <a:ln w="2884" cap="flat">
            <a:solidFill>
              <a:srgbClr val="2167AE"/>
            </a:solidFill>
            <a:prstDash val="solid"/>
            <a:miter/>
          </a:ln>
        </p:spPr>
        <p:txBody>
          <a:bodyPr lIns="0" tIns="36000" rIns="0" bIns="36000" rtlCol="0" anchor="ctr"/>
          <a:lstStyle/>
          <a:p>
            <a:pPr algn="ctr"/>
            <a:r>
              <a:rPr lang="en-AU" sz="800" b="1" dirty="0">
                <a:solidFill>
                  <a:schemeClr val="bg1"/>
                </a:solidFill>
              </a:rPr>
              <a:t>7</a:t>
            </a:r>
          </a:p>
        </p:txBody>
      </p:sp>
      <p:sp>
        <p:nvSpPr>
          <p:cNvPr id="47" name="Rectangle 46">
            <a:extLst>
              <a:ext uri="{FF2B5EF4-FFF2-40B4-BE49-F238E27FC236}">
                <a16:creationId xmlns:a16="http://schemas.microsoft.com/office/drawing/2014/main" id="{24D7593B-6ED1-4A9E-9DBE-C88F64DDD914}"/>
              </a:ext>
            </a:extLst>
          </p:cNvPr>
          <p:cNvSpPr/>
          <p:nvPr/>
        </p:nvSpPr>
        <p:spPr>
          <a:xfrm>
            <a:off x="4067832" y="2426934"/>
            <a:ext cx="835355" cy="103624"/>
          </a:xfrm>
          <a:prstGeom prst="rect">
            <a:avLst/>
          </a:prstGeom>
          <a:solidFill>
            <a:srgbClr val="BFEFC2"/>
          </a:solidFill>
          <a:ln w="28575" cap="flat">
            <a:noFill/>
            <a:prstDash val="solid"/>
            <a:miter/>
          </a:ln>
        </p:spPr>
        <p:txBody>
          <a:bodyPr lIns="72000" tIns="36000" rIns="72000" bIns="36000" rtlCol="0" anchor="t"/>
          <a:lstStyle/>
          <a:p>
            <a:pPr algn="ctr"/>
            <a:endParaRPr lang="en-AU" sz="800" b="1" dirty="0" err="1">
              <a:solidFill>
                <a:srgbClr val="2167AE"/>
              </a:solidFill>
            </a:endParaRPr>
          </a:p>
        </p:txBody>
      </p:sp>
      <p:sp>
        <p:nvSpPr>
          <p:cNvPr id="6" name="Rectangle 5">
            <a:extLst>
              <a:ext uri="{FF2B5EF4-FFF2-40B4-BE49-F238E27FC236}">
                <a16:creationId xmlns:a16="http://schemas.microsoft.com/office/drawing/2014/main" id="{654B90E4-2088-4539-967D-F64869E475B6}"/>
              </a:ext>
            </a:extLst>
          </p:cNvPr>
          <p:cNvSpPr/>
          <p:nvPr/>
        </p:nvSpPr>
        <p:spPr>
          <a:xfrm>
            <a:off x="1998140" y="2472574"/>
            <a:ext cx="1030779" cy="324919"/>
          </a:xfrm>
          <a:prstGeom prst="rect">
            <a:avLst/>
          </a:prstGeom>
          <a:solidFill>
            <a:srgbClr val="FFFF00"/>
          </a:solidFill>
          <a:ln w="22225" cap="flat">
            <a:solidFill>
              <a:srgbClr val="BCB800"/>
            </a:solidFill>
            <a:prstDash val="solid"/>
            <a:miter/>
          </a:ln>
        </p:spPr>
        <p:txBody>
          <a:bodyPr lIns="36000" tIns="36000" rIns="0" bIns="36000" rtlCol="0" anchor="ctr"/>
          <a:lstStyle/>
          <a:p>
            <a:pPr algn="ctr"/>
            <a:r>
              <a:rPr lang="en-AU" sz="700" dirty="0">
                <a:solidFill>
                  <a:srgbClr val="23366E"/>
                </a:solidFill>
              </a:rPr>
              <a:t>Business value add-on microservices</a:t>
            </a:r>
          </a:p>
        </p:txBody>
      </p:sp>
      <p:sp>
        <p:nvSpPr>
          <p:cNvPr id="93" name="Rectangle 92">
            <a:extLst>
              <a:ext uri="{FF2B5EF4-FFF2-40B4-BE49-F238E27FC236}">
                <a16:creationId xmlns:a16="http://schemas.microsoft.com/office/drawing/2014/main" id="{9CB271A5-0F24-4B3B-8790-B930085651B5}"/>
              </a:ext>
            </a:extLst>
          </p:cNvPr>
          <p:cNvSpPr/>
          <p:nvPr/>
        </p:nvSpPr>
        <p:spPr>
          <a:xfrm>
            <a:off x="3068469" y="2846223"/>
            <a:ext cx="868724" cy="765368"/>
          </a:xfrm>
          <a:prstGeom prst="rect">
            <a:avLst/>
          </a:prstGeom>
          <a:solidFill>
            <a:schemeClr val="bg1"/>
          </a:solidFill>
          <a:ln w="12700" cap="flat">
            <a:solidFill>
              <a:srgbClr val="2167AE"/>
            </a:solidFill>
            <a:prstDash val="solid"/>
            <a:miter/>
          </a:ln>
        </p:spPr>
        <p:txBody>
          <a:bodyPr lIns="72000" tIns="36000" rIns="72000" bIns="36000" rtlCol="0" anchor="t"/>
          <a:lstStyle/>
          <a:p>
            <a:pPr algn="ctr"/>
            <a:r>
              <a:rPr lang="en-AU" sz="800" b="1" dirty="0">
                <a:solidFill>
                  <a:srgbClr val="2167AE"/>
                </a:solidFill>
              </a:rPr>
              <a:t>CRM</a:t>
            </a:r>
          </a:p>
          <a:p>
            <a:pPr algn="ctr"/>
            <a:endParaRPr lang="en-AU" sz="700" dirty="0">
              <a:solidFill>
                <a:srgbClr val="2167AE"/>
              </a:solidFill>
            </a:endParaRPr>
          </a:p>
          <a:p>
            <a:pPr algn="ctr"/>
            <a:r>
              <a:rPr lang="en-AU" sz="500" i="1" dirty="0">
                <a:solidFill>
                  <a:srgbClr val="2167AE"/>
                </a:solidFill>
              </a:rPr>
              <a:t>New off the shelf platform</a:t>
            </a:r>
          </a:p>
          <a:p>
            <a:pPr algn="ctr"/>
            <a:endParaRPr lang="en-AU" sz="500" i="1" dirty="0">
              <a:solidFill>
                <a:srgbClr val="2167AE"/>
              </a:solidFill>
            </a:endParaRPr>
          </a:p>
          <a:p>
            <a:pPr algn="ctr"/>
            <a:r>
              <a:rPr lang="en-AU" sz="500" i="1" dirty="0">
                <a:solidFill>
                  <a:srgbClr val="2167AE"/>
                </a:solidFill>
              </a:rPr>
              <a:t>To be configured to Zurich specs</a:t>
            </a:r>
          </a:p>
        </p:txBody>
      </p:sp>
      <p:sp>
        <p:nvSpPr>
          <p:cNvPr id="94" name="Oval 93">
            <a:extLst>
              <a:ext uri="{FF2B5EF4-FFF2-40B4-BE49-F238E27FC236}">
                <a16:creationId xmlns:a16="http://schemas.microsoft.com/office/drawing/2014/main" id="{97A8C190-5100-4D76-A9BE-40CF7E187DDB}"/>
              </a:ext>
            </a:extLst>
          </p:cNvPr>
          <p:cNvSpPr/>
          <p:nvPr/>
        </p:nvSpPr>
        <p:spPr>
          <a:xfrm>
            <a:off x="3023412" y="2818926"/>
            <a:ext cx="287270" cy="170383"/>
          </a:xfrm>
          <a:prstGeom prst="ellipse">
            <a:avLst/>
          </a:prstGeom>
          <a:solidFill>
            <a:srgbClr val="2167AE"/>
          </a:solidFill>
          <a:ln w="2884" cap="flat">
            <a:solidFill>
              <a:srgbClr val="2167AE"/>
            </a:solidFill>
            <a:prstDash val="solid"/>
            <a:miter/>
          </a:ln>
        </p:spPr>
        <p:txBody>
          <a:bodyPr lIns="0" tIns="36000" rIns="0" bIns="36000" rtlCol="0" anchor="ctr"/>
          <a:lstStyle/>
          <a:p>
            <a:pPr algn="ctr"/>
            <a:r>
              <a:rPr lang="en-AU" sz="800" b="1" dirty="0">
                <a:solidFill>
                  <a:schemeClr val="bg1"/>
                </a:solidFill>
              </a:rPr>
              <a:t>5</a:t>
            </a:r>
          </a:p>
        </p:txBody>
      </p:sp>
      <p:sp>
        <p:nvSpPr>
          <p:cNvPr id="110" name="Rectangle 109">
            <a:extLst>
              <a:ext uri="{FF2B5EF4-FFF2-40B4-BE49-F238E27FC236}">
                <a16:creationId xmlns:a16="http://schemas.microsoft.com/office/drawing/2014/main" id="{2C047EF7-7506-4F77-9609-077EAC6BD0F9}"/>
              </a:ext>
            </a:extLst>
          </p:cNvPr>
          <p:cNvSpPr/>
          <p:nvPr/>
        </p:nvSpPr>
        <p:spPr>
          <a:xfrm>
            <a:off x="1998140" y="3031933"/>
            <a:ext cx="1030779" cy="409358"/>
          </a:xfrm>
          <a:prstGeom prst="rect">
            <a:avLst/>
          </a:prstGeom>
          <a:solidFill>
            <a:srgbClr val="FFFF00"/>
          </a:solidFill>
          <a:ln w="22225" cap="flat">
            <a:solidFill>
              <a:srgbClr val="BCB800"/>
            </a:solidFill>
            <a:prstDash val="solid"/>
            <a:miter/>
          </a:ln>
        </p:spPr>
        <p:txBody>
          <a:bodyPr lIns="36000" tIns="36000" rIns="36000" bIns="36000" rtlCol="0" anchor="ctr"/>
          <a:lstStyle/>
          <a:p>
            <a:pPr algn="ctr"/>
            <a:r>
              <a:rPr lang="en-AU" sz="700" dirty="0">
                <a:solidFill>
                  <a:srgbClr val="23366E"/>
                </a:solidFill>
              </a:rPr>
              <a:t>Business value add-on microservices</a:t>
            </a:r>
          </a:p>
        </p:txBody>
      </p:sp>
      <p:sp>
        <p:nvSpPr>
          <p:cNvPr id="128" name="TextBox 127">
            <a:extLst>
              <a:ext uri="{FF2B5EF4-FFF2-40B4-BE49-F238E27FC236}">
                <a16:creationId xmlns:a16="http://schemas.microsoft.com/office/drawing/2014/main" id="{BB961261-2EA7-4FDD-A466-D61ACFCE9672}"/>
              </a:ext>
            </a:extLst>
          </p:cNvPr>
          <p:cNvSpPr txBox="1"/>
          <p:nvPr/>
        </p:nvSpPr>
        <p:spPr>
          <a:xfrm>
            <a:off x="2003662" y="1605483"/>
            <a:ext cx="936879" cy="324384"/>
          </a:xfrm>
          <a:prstGeom prst="rect">
            <a:avLst/>
          </a:prstGeom>
          <a:noFill/>
        </p:spPr>
        <p:txBody>
          <a:bodyPr wrap="square" lIns="36000" tIns="0" rIns="36000" bIns="0" rtlCol="0">
            <a:spAutoFit/>
          </a:bodyPr>
          <a:lstStyle/>
          <a:p>
            <a:pPr algn="ctr"/>
            <a:r>
              <a:rPr lang="en-AU" sz="800" b="1" dirty="0">
                <a:solidFill>
                  <a:srgbClr val="2167AE"/>
                </a:solidFill>
              </a:rPr>
              <a:t>Zurich Plug-in Assets</a:t>
            </a:r>
          </a:p>
          <a:p>
            <a:pPr algn="ctr">
              <a:lnSpc>
                <a:spcPts val="600"/>
              </a:lnSpc>
            </a:pPr>
            <a:r>
              <a:rPr lang="en-AU" sz="700" dirty="0">
                <a:solidFill>
                  <a:srgbClr val="2167AE"/>
                </a:solidFill>
              </a:rPr>
              <a:t>(examples only)</a:t>
            </a:r>
          </a:p>
        </p:txBody>
      </p:sp>
      <p:sp>
        <p:nvSpPr>
          <p:cNvPr id="113" name="Rectangle 112">
            <a:extLst>
              <a:ext uri="{FF2B5EF4-FFF2-40B4-BE49-F238E27FC236}">
                <a16:creationId xmlns:a16="http://schemas.microsoft.com/office/drawing/2014/main" id="{FF75D321-650A-47AE-A445-6E1FA5CB947C}"/>
              </a:ext>
            </a:extLst>
          </p:cNvPr>
          <p:cNvSpPr/>
          <p:nvPr/>
        </p:nvSpPr>
        <p:spPr>
          <a:xfrm>
            <a:off x="3068555" y="4008510"/>
            <a:ext cx="575435" cy="437220"/>
          </a:xfrm>
          <a:prstGeom prst="rect">
            <a:avLst/>
          </a:prstGeom>
          <a:solidFill>
            <a:schemeClr val="bg1">
              <a:lumMod val="85000"/>
            </a:schemeClr>
          </a:solidFill>
          <a:ln w="15875" cap="flat">
            <a:solidFill>
              <a:schemeClr val="bg1">
                <a:lumMod val="65000"/>
              </a:schemeClr>
            </a:solidFill>
            <a:prstDash val="solid"/>
            <a:miter/>
          </a:ln>
        </p:spPr>
        <p:txBody>
          <a:bodyPr lIns="72000" tIns="36000" rIns="72000" bIns="36000" rtlCol="0" anchor="t"/>
          <a:lstStyle/>
          <a:p>
            <a:pPr algn="ctr"/>
            <a:r>
              <a:rPr lang="en-AU" sz="800" b="1" dirty="0">
                <a:solidFill>
                  <a:schemeClr val="bg1">
                    <a:lumMod val="50000"/>
                  </a:schemeClr>
                </a:solidFill>
              </a:rPr>
              <a:t>Existing BU core platform</a:t>
            </a:r>
          </a:p>
        </p:txBody>
      </p:sp>
      <p:sp>
        <p:nvSpPr>
          <p:cNvPr id="115" name="Rectangle 114">
            <a:extLst>
              <a:ext uri="{FF2B5EF4-FFF2-40B4-BE49-F238E27FC236}">
                <a16:creationId xmlns:a16="http://schemas.microsoft.com/office/drawing/2014/main" id="{082A5DD2-7159-4110-96F7-F72DC47DD8B9}"/>
              </a:ext>
            </a:extLst>
          </p:cNvPr>
          <p:cNvSpPr/>
          <p:nvPr/>
        </p:nvSpPr>
        <p:spPr>
          <a:xfrm>
            <a:off x="1998140" y="1962267"/>
            <a:ext cx="1030779" cy="332309"/>
          </a:xfrm>
          <a:prstGeom prst="rect">
            <a:avLst/>
          </a:prstGeom>
          <a:solidFill>
            <a:srgbClr val="FFFF00"/>
          </a:solidFill>
          <a:ln w="22225" cap="flat">
            <a:solidFill>
              <a:srgbClr val="BCB800"/>
            </a:solidFill>
            <a:prstDash val="solid"/>
            <a:miter/>
          </a:ln>
        </p:spPr>
        <p:txBody>
          <a:bodyPr lIns="36000" tIns="36000" rIns="36000" bIns="36000" rtlCol="0" anchor="ctr"/>
          <a:lstStyle/>
          <a:p>
            <a:pPr algn="ctr"/>
            <a:r>
              <a:rPr lang="en-AU" sz="700" dirty="0">
                <a:solidFill>
                  <a:srgbClr val="23366E"/>
                </a:solidFill>
              </a:rPr>
              <a:t>Chat Bot</a:t>
            </a:r>
          </a:p>
          <a:p>
            <a:pPr algn="ctr"/>
            <a:r>
              <a:rPr lang="en-AU" sz="700" dirty="0">
                <a:solidFill>
                  <a:srgbClr val="23366E"/>
                </a:solidFill>
              </a:rPr>
              <a:t>Video calling</a:t>
            </a:r>
          </a:p>
        </p:txBody>
      </p:sp>
      <p:sp>
        <p:nvSpPr>
          <p:cNvPr id="36" name="Oval 35">
            <a:extLst>
              <a:ext uri="{FF2B5EF4-FFF2-40B4-BE49-F238E27FC236}">
                <a16:creationId xmlns:a16="http://schemas.microsoft.com/office/drawing/2014/main" id="{9E7CBF13-98DD-4D10-BC9E-3496AC73B6CE}"/>
              </a:ext>
            </a:extLst>
          </p:cNvPr>
          <p:cNvSpPr/>
          <p:nvPr/>
        </p:nvSpPr>
        <p:spPr>
          <a:xfrm>
            <a:off x="3038330" y="2471824"/>
            <a:ext cx="287270" cy="170383"/>
          </a:xfrm>
          <a:prstGeom prst="ellipse">
            <a:avLst/>
          </a:prstGeom>
          <a:solidFill>
            <a:srgbClr val="2167AE"/>
          </a:solidFill>
          <a:ln w="2884" cap="flat">
            <a:solidFill>
              <a:srgbClr val="2167AE"/>
            </a:solidFill>
            <a:prstDash val="solid"/>
            <a:miter/>
          </a:ln>
        </p:spPr>
        <p:txBody>
          <a:bodyPr lIns="0" tIns="36000" rIns="0" bIns="36000" rtlCol="0" anchor="ctr"/>
          <a:lstStyle/>
          <a:p>
            <a:pPr algn="ctr"/>
            <a:r>
              <a:rPr lang="en-AU" sz="800" b="1" dirty="0">
                <a:solidFill>
                  <a:schemeClr val="bg1"/>
                </a:solidFill>
              </a:rPr>
              <a:t>2.1</a:t>
            </a:r>
          </a:p>
        </p:txBody>
      </p:sp>
      <p:sp>
        <p:nvSpPr>
          <p:cNvPr id="65" name="Rectangle 64">
            <a:extLst>
              <a:ext uri="{FF2B5EF4-FFF2-40B4-BE49-F238E27FC236}">
                <a16:creationId xmlns:a16="http://schemas.microsoft.com/office/drawing/2014/main" id="{39490F77-3D1D-4B5D-A2BE-35442373EFDB}"/>
              </a:ext>
            </a:extLst>
          </p:cNvPr>
          <p:cNvSpPr/>
          <p:nvPr/>
        </p:nvSpPr>
        <p:spPr>
          <a:xfrm>
            <a:off x="250824" y="595584"/>
            <a:ext cx="2088516" cy="181742"/>
          </a:xfrm>
          <a:prstGeom prst="rect">
            <a:avLst/>
          </a:prstGeom>
          <a:solidFill>
            <a:srgbClr val="BFEFC2"/>
          </a:solidFill>
          <a:ln w="22225" cap="flat">
            <a:solidFill>
              <a:srgbClr val="00A249"/>
            </a:solidFill>
            <a:prstDash val="solid"/>
            <a:miter/>
          </a:ln>
        </p:spPr>
        <p:txBody>
          <a:bodyPr lIns="36000" tIns="36000" rIns="36000" bIns="36000" rtlCol="0" anchor="ctr"/>
          <a:lstStyle/>
          <a:p>
            <a:pPr algn="ctr"/>
            <a:r>
              <a:rPr lang="en-AU" sz="1000" b="1" dirty="0">
                <a:solidFill>
                  <a:srgbClr val="2167AE"/>
                </a:solidFill>
              </a:rPr>
              <a:t>Partner / customer facing assets</a:t>
            </a:r>
          </a:p>
        </p:txBody>
      </p:sp>
      <p:sp>
        <p:nvSpPr>
          <p:cNvPr id="13" name="TextBox 12">
            <a:extLst>
              <a:ext uri="{FF2B5EF4-FFF2-40B4-BE49-F238E27FC236}">
                <a16:creationId xmlns:a16="http://schemas.microsoft.com/office/drawing/2014/main" id="{540C00E2-2A03-44E2-8832-32C3BED16C67}"/>
              </a:ext>
            </a:extLst>
          </p:cNvPr>
          <p:cNvSpPr txBox="1"/>
          <p:nvPr/>
        </p:nvSpPr>
        <p:spPr>
          <a:xfrm>
            <a:off x="2394163" y="605664"/>
            <a:ext cx="3955176" cy="161583"/>
          </a:xfrm>
          <a:prstGeom prst="rect">
            <a:avLst/>
          </a:prstGeom>
          <a:noFill/>
        </p:spPr>
        <p:txBody>
          <a:bodyPr wrap="none" lIns="36000" tIns="0" rIns="36000" bIns="0" rtlCol="0">
            <a:spAutoFit/>
          </a:bodyPr>
          <a:lstStyle/>
          <a:p>
            <a:pPr algn="l"/>
            <a:r>
              <a:rPr lang="en-AU" sz="1050" dirty="0">
                <a:solidFill>
                  <a:srgbClr val="2167AE"/>
                </a:solidFill>
              </a:rPr>
              <a:t>Focus on customer &amp; distributor experience – Zurich custom built</a:t>
            </a:r>
          </a:p>
        </p:txBody>
      </p:sp>
      <p:sp>
        <p:nvSpPr>
          <p:cNvPr id="66" name="Rectangle 65">
            <a:extLst>
              <a:ext uri="{FF2B5EF4-FFF2-40B4-BE49-F238E27FC236}">
                <a16:creationId xmlns:a16="http://schemas.microsoft.com/office/drawing/2014/main" id="{5145BAFE-0975-41BD-B796-41188A25A2F2}"/>
              </a:ext>
            </a:extLst>
          </p:cNvPr>
          <p:cNvSpPr/>
          <p:nvPr/>
        </p:nvSpPr>
        <p:spPr>
          <a:xfrm>
            <a:off x="250824" y="905677"/>
            <a:ext cx="2088516" cy="181742"/>
          </a:xfrm>
          <a:prstGeom prst="rect">
            <a:avLst/>
          </a:prstGeom>
          <a:solidFill>
            <a:srgbClr val="FFFF00"/>
          </a:solidFill>
          <a:ln w="22225" cap="flat">
            <a:solidFill>
              <a:srgbClr val="BCB800"/>
            </a:solidFill>
            <a:prstDash val="solid"/>
            <a:miter/>
          </a:ln>
        </p:spPr>
        <p:txBody>
          <a:bodyPr lIns="36000" tIns="36000" rIns="36000" bIns="36000" rtlCol="0" anchor="ctr"/>
          <a:lstStyle/>
          <a:p>
            <a:pPr algn="ctr"/>
            <a:r>
              <a:rPr lang="en-AU" sz="900" b="1" dirty="0">
                <a:solidFill>
                  <a:srgbClr val="2167AE"/>
                </a:solidFill>
              </a:rPr>
              <a:t>Business Value add </a:t>
            </a:r>
            <a:r>
              <a:rPr lang="en-AU" sz="900" b="1" dirty="0" err="1">
                <a:solidFill>
                  <a:srgbClr val="2167AE"/>
                </a:solidFill>
              </a:rPr>
              <a:t>ons</a:t>
            </a:r>
            <a:endParaRPr lang="en-AU" sz="900" b="1" dirty="0">
              <a:solidFill>
                <a:srgbClr val="2167AE"/>
              </a:solidFill>
            </a:endParaRPr>
          </a:p>
        </p:txBody>
      </p:sp>
      <p:sp>
        <p:nvSpPr>
          <p:cNvPr id="69" name="TextBox 68">
            <a:extLst>
              <a:ext uri="{FF2B5EF4-FFF2-40B4-BE49-F238E27FC236}">
                <a16:creationId xmlns:a16="http://schemas.microsoft.com/office/drawing/2014/main" id="{3AA681B2-E359-4D86-AF90-E4FDE5AE757F}"/>
              </a:ext>
            </a:extLst>
          </p:cNvPr>
          <p:cNvSpPr txBox="1"/>
          <p:nvPr/>
        </p:nvSpPr>
        <p:spPr>
          <a:xfrm>
            <a:off x="2394163" y="915757"/>
            <a:ext cx="4415239" cy="161583"/>
          </a:xfrm>
          <a:prstGeom prst="rect">
            <a:avLst/>
          </a:prstGeom>
          <a:noFill/>
        </p:spPr>
        <p:txBody>
          <a:bodyPr wrap="none" lIns="36000" tIns="0" rIns="36000" bIns="0" rtlCol="0">
            <a:spAutoFit/>
          </a:bodyPr>
          <a:lstStyle/>
          <a:p>
            <a:pPr algn="l"/>
            <a:r>
              <a:rPr lang="en-AU" sz="1050" dirty="0">
                <a:solidFill>
                  <a:srgbClr val="2167AE"/>
                </a:solidFill>
              </a:rPr>
              <a:t>Current &amp; future innovations &amp; new tech – pluggable into the architecture</a:t>
            </a:r>
          </a:p>
        </p:txBody>
      </p:sp>
      <p:sp>
        <p:nvSpPr>
          <p:cNvPr id="67" name="Rectangle 66">
            <a:extLst>
              <a:ext uri="{FF2B5EF4-FFF2-40B4-BE49-F238E27FC236}">
                <a16:creationId xmlns:a16="http://schemas.microsoft.com/office/drawing/2014/main" id="{B26D986C-6BB9-4AB9-8F78-ECD860C744BC}"/>
              </a:ext>
            </a:extLst>
          </p:cNvPr>
          <p:cNvSpPr/>
          <p:nvPr/>
        </p:nvSpPr>
        <p:spPr>
          <a:xfrm>
            <a:off x="250824" y="1215770"/>
            <a:ext cx="2088516" cy="181742"/>
          </a:xfrm>
          <a:prstGeom prst="rect">
            <a:avLst/>
          </a:prstGeom>
          <a:solidFill>
            <a:schemeClr val="bg1"/>
          </a:solidFill>
          <a:ln w="12700" cap="flat">
            <a:solidFill>
              <a:srgbClr val="2167AE"/>
            </a:solidFill>
            <a:prstDash val="solid"/>
            <a:miter/>
          </a:ln>
        </p:spPr>
        <p:txBody>
          <a:bodyPr lIns="72000" tIns="36000" rIns="72000" bIns="36000" rtlCol="0" anchor="ctr"/>
          <a:lstStyle/>
          <a:p>
            <a:pPr algn="ctr"/>
            <a:r>
              <a:rPr lang="en-AU" sz="1000" b="1" dirty="0">
                <a:solidFill>
                  <a:srgbClr val="2167AE"/>
                </a:solidFill>
              </a:rPr>
              <a:t>Foundation</a:t>
            </a:r>
          </a:p>
        </p:txBody>
      </p:sp>
      <p:sp>
        <p:nvSpPr>
          <p:cNvPr id="70" name="TextBox 69">
            <a:extLst>
              <a:ext uri="{FF2B5EF4-FFF2-40B4-BE49-F238E27FC236}">
                <a16:creationId xmlns:a16="http://schemas.microsoft.com/office/drawing/2014/main" id="{A314509E-40D2-4F12-8CE9-00EDC9A57867}"/>
              </a:ext>
            </a:extLst>
          </p:cNvPr>
          <p:cNvSpPr txBox="1"/>
          <p:nvPr/>
        </p:nvSpPr>
        <p:spPr>
          <a:xfrm>
            <a:off x="2394163" y="1225850"/>
            <a:ext cx="5418718" cy="161583"/>
          </a:xfrm>
          <a:prstGeom prst="rect">
            <a:avLst/>
          </a:prstGeom>
          <a:noFill/>
        </p:spPr>
        <p:txBody>
          <a:bodyPr wrap="none" lIns="36000" tIns="0" rIns="36000" bIns="0" rtlCol="0">
            <a:spAutoFit/>
          </a:bodyPr>
          <a:lstStyle/>
          <a:p>
            <a:pPr algn="l"/>
            <a:r>
              <a:rPr lang="en-AU" sz="1050" dirty="0">
                <a:solidFill>
                  <a:srgbClr val="2167AE"/>
                </a:solidFill>
              </a:rPr>
              <a:t>Fundamentals of insurance processing. Off the shelf platforms configured to specifications</a:t>
            </a:r>
          </a:p>
        </p:txBody>
      </p:sp>
    </p:spTree>
    <p:extLst>
      <p:ext uri="{BB962C8B-B14F-4D97-AF65-F5344CB8AC3E}">
        <p14:creationId xmlns:p14="http://schemas.microsoft.com/office/powerpoint/2010/main" val="1552987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1&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4.69532790000000055386E+00&quot;&gt;&lt;m_msothmcolidx val=&quot;0&quot;/&gt;&lt;m_rgb r=&quot;21&quot; g=&quot;67&quot; b=&quot;AE&quot;/&gt;&lt;/elem&gt;&lt;elem m_fUsage=&quot;1.00000000000000000000E+00&quot;&gt;&lt;m_msothmcolidx val=&quot;0&quot;/&gt;&lt;m_rgb r=&quot;E7&quot; g=&quot;E2&quot; b=&quot;D3&quot;/&gt;&lt;/elem&gt;&lt;elem m_fUsage=&quot;8.17887699000000023553E-01&quot;&gt;&lt;m_msothmcolidx val=&quot;0&quot;/&gt;&lt;m_rgb r=&quot;74&quot; g=&quot;C9&quot; b=&quot;A5&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tGWg1pMbny.qUdWNpnI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SgToWRwO0.m1JMAoGh4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xcUVeAr906v_xeHLtXe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BUr2rMuDEStvFJQLtkWC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VLhd8utvk2xRkaGSGpw4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9CbVyC0RPJXqNlQ.Ql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urich horitzontal logo">
  <a:themeElements>
    <a:clrScheme name="Z Primary and Secondary">
      <a:dk1>
        <a:srgbClr val="000066"/>
      </a:dk1>
      <a:lt1>
        <a:srgbClr val="FFFFFF"/>
      </a:lt1>
      <a:dk2>
        <a:srgbClr val="000066"/>
      </a:dk2>
      <a:lt2>
        <a:srgbClr val="009EFE"/>
      </a:lt2>
      <a:accent1>
        <a:srgbClr val="003399"/>
      </a:accent1>
      <a:accent2>
        <a:srgbClr val="97C1E3"/>
      </a:accent2>
      <a:accent3>
        <a:srgbClr val="4F90C8"/>
      </a:accent3>
      <a:accent4>
        <a:srgbClr val="D5CEB5"/>
      </a:accent4>
      <a:accent5>
        <a:srgbClr val="A89F96"/>
      </a:accent5>
      <a:accent6>
        <a:srgbClr val="E7ECEB"/>
      </a:accent6>
      <a:hlink>
        <a:srgbClr val="009EFE"/>
      </a:hlink>
      <a:folHlink>
        <a:srgbClr val="A89F9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884" cap="flat">
          <a:solidFill>
            <a:srgbClr val="2167AE"/>
          </a:solidFill>
          <a:prstDash val="solid"/>
          <a:miter/>
        </a:ln>
      </a:spPr>
      <a:bodyPr lIns="72000" tIns="36000" rIns="72000" bIns="36000" rtlCol="0" anchor="ctr"/>
      <a:lstStyle>
        <a:defPPr algn="ctr">
          <a:defRPr sz="800" dirty="0" err="1" smtClean="0">
            <a:solidFill>
              <a:srgbClr val="2167AE"/>
            </a:solidFill>
          </a:defRPr>
        </a:defPPr>
      </a:lstStyle>
    </a:spDef>
    <a:lnDef>
      <a:spPr bwMode="auto">
        <a:solidFill>
          <a:schemeClr val="folHlink">
            <a:alpha val="50000"/>
          </a:schemeClr>
        </a:solidFill>
        <a:ln w="9525" cap="flat" cmpd="sng" algn="ctr">
          <a:solidFill>
            <a:srgbClr val="2167AE"/>
          </a:solidFill>
          <a:prstDash val="solid"/>
          <a:round/>
          <a:headEnd type="none" w="med" len="med"/>
          <a:tailEnd type="none" w="med" len="med"/>
        </a:ln>
        <a:effectLst/>
      </a:spPr>
      <a:bodyPr/>
      <a:lstStyle/>
    </a:lnDef>
    <a:txDef>
      <a:spPr>
        <a:noFill/>
      </a:spPr>
      <a:bodyPr wrap="none" lIns="36000" tIns="0" rIns="36000" bIns="0" rtlCol="0">
        <a:spAutoFit/>
      </a:bodyPr>
      <a:lstStyle>
        <a:defPPr algn="l">
          <a:defRPr sz="800" dirty="0" err="1" smtClean="0">
            <a:solidFill>
              <a:srgbClr val="2167AE"/>
            </a:solidFill>
          </a:defRPr>
        </a:defPPr>
      </a:lstStyle>
    </a:txDef>
  </a:objectDefaults>
  <a:extraClrSchemeLst>
    <a:extraClrScheme>
      <a:clrScheme name="Z Primary and Secondary">
        <a:dk1>
          <a:srgbClr val="000066"/>
        </a:dk1>
        <a:lt1>
          <a:srgbClr val="FFFFFF"/>
        </a:lt1>
        <a:dk2>
          <a:srgbClr val="000066"/>
        </a:dk2>
        <a:lt2>
          <a:srgbClr val="009EFE"/>
        </a:lt2>
        <a:accent1>
          <a:srgbClr val="003399"/>
        </a:accent1>
        <a:accent2>
          <a:srgbClr val="97C1E3"/>
        </a:accent2>
        <a:accent3>
          <a:srgbClr val="4F90C8"/>
        </a:accent3>
        <a:accent4>
          <a:srgbClr val="D5CEB5"/>
        </a:accent4>
        <a:accent5>
          <a:srgbClr val="A89F96"/>
        </a:accent5>
        <a:accent6>
          <a:srgbClr val="E7ECEB"/>
        </a:accent6>
        <a:hlink>
          <a:srgbClr val="009EFE"/>
        </a:hlink>
        <a:folHlink>
          <a:srgbClr val="A89F96"/>
        </a:folHlink>
      </a:clrScheme>
      <a:clrMap bg1="lt1" tx1="dk1" bg2="lt2" tx2="dk2" accent1="accent1" accent2="accent2" accent3="accent3" accent4="accent4" accent5="accent5" accent6="accent6" hlink="hlink" folHlink="folHlink"/>
    </a:extraClrScheme>
  </a:extraClrSchemeLst>
  <a:custClrLst>
    <a:custClr name="Zurich blue 1">
      <a:srgbClr val="003399"/>
    </a:custClr>
    <a:custClr name="Zurich blue 2">
      <a:srgbClr val="000066"/>
    </a:custClr>
    <a:custClr name="Sky blue">
      <a:srgbClr val="009EFE"/>
    </a:custClr>
    <a:custClr name="Mid blue">
      <a:srgbClr val="4F90C8"/>
    </a:custClr>
    <a:custClr name="Light blue">
      <a:srgbClr val="97C1E3"/>
    </a:custClr>
    <a:custClr name="Sand Stone">
      <a:srgbClr val="D5CEB5"/>
    </a:custClr>
    <a:custClr name="Dark stone">
      <a:srgbClr val="A89F96"/>
    </a:custClr>
    <a:custClr name="Dove">
      <a:srgbClr val="E7ECEB"/>
    </a:custClr>
    <a:custClr name="Black">
      <a:srgbClr val="000000"/>
    </a:custClr>
    <a:custClr name="White">
      <a:srgbClr val="FFFFFF"/>
    </a:custClr>
    <a:custClr name="Teal">
      <a:srgbClr val="007396"/>
    </a:custClr>
    <a:custClr name="Turquoise">
      <a:srgbClr val="00BFB3"/>
    </a:custClr>
    <a:custClr name="Lemon">
      <a:srgbClr val="E0E27C"/>
    </a:custClr>
    <a:custClr name="Orange">
      <a:srgbClr val="F69C00"/>
    </a:custClr>
    <a:custClr name="Salmon">
      <a:srgbClr val="EA635C"/>
    </a:custClr>
  </a:custClrLst>
  <a:extLst>
    <a:ext uri="{05A4C25C-085E-4340-85A3-A5531E510DB2}">
      <thm15:themeFamily xmlns:thm15="http://schemas.microsoft.com/office/thememl/2012/main" name="ArialPPTTemplate.potx" id="{E2F17381-409C-4C7F-BC03-C44FD0FAD7D9}" vid="{F9D56B4D-AFA4-4473-9AFF-2186AB34D64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94C69A8-77ED-4A25-9DB1-7B8BA0094FE2}">
  <we:reference id="c08a5a11-2a3e-44ff-83ad-a24654290e73" version="1.0.0.8"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ba75d06-5178-4bbb-80e5-1f21da8c5939">
      <UserInfo>
        <DisplayName>Kelley Nicole Kemp</DisplayName>
        <AccountId>6</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5F7B9B00E8142F4EAAB25F7E2C4C21FA" ma:contentTypeVersion="12" ma:contentTypeDescription="Crear nuevo documento." ma:contentTypeScope="" ma:versionID="abe947a7a42c65997f6ab30a4e2d251e">
  <xsd:schema xmlns:xsd="http://www.w3.org/2001/XMLSchema" xmlns:xs="http://www.w3.org/2001/XMLSchema" xmlns:p="http://schemas.microsoft.com/office/2006/metadata/properties" xmlns:ns2="9052ddbf-d890-4a52-ad72-01dac8c80a3b" xmlns:ns3="7ba75d06-5178-4bbb-80e5-1f21da8c5939" targetNamespace="http://schemas.microsoft.com/office/2006/metadata/properties" ma:root="true" ma:fieldsID="ca0fe251a4a3de08bc013dc6abe24185" ns2:_="" ns3:_="">
    <xsd:import namespace="9052ddbf-d890-4a52-ad72-01dac8c80a3b"/>
    <xsd:import namespace="7ba75d06-5178-4bbb-80e5-1f21da8c5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52ddbf-d890-4a52-ad72-01dac8c80a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ba75d06-5178-4bbb-80e5-1f21da8c5939" elementFormDefault="qualified">
    <xsd:import namespace="http://schemas.microsoft.com/office/2006/documentManagement/types"/>
    <xsd:import namespace="http://schemas.microsoft.com/office/infopath/2007/PartnerControls"/>
    <xsd:element name="SharedWithUsers" ma:index="16"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DE118F-0638-43BE-A455-3E08FDD98499}">
  <ds:schemaRefs>
    <ds:schemaRef ds:uri="7ba75d06-5178-4bbb-80e5-1f21da8c5939"/>
    <ds:schemaRef ds:uri="http://schemas.microsoft.com/office/2006/documentManagement/types"/>
    <ds:schemaRef ds:uri="http://schemas.microsoft.com/office/infopath/2007/PartnerControls"/>
    <ds:schemaRef ds:uri="http://purl.org/dc/elements/1.1/"/>
    <ds:schemaRef ds:uri="http://schemas.microsoft.com/office/2006/metadata/properties"/>
    <ds:schemaRef ds:uri="9052ddbf-d890-4a52-ad72-01dac8c80a3b"/>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A153C5B1-945F-4414-8FD3-47F92AAB9214}">
  <ds:schemaRefs>
    <ds:schemaRef ds:uri="7ba75d06-5178-4bbb-80e5-1f21da8c5939"/>
    <ds:schemaRef ds:uri="9052ddbf-d890-4a52-ad72-01dac8c80a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DE3BFCA-9F5A-4E5C-8C5A-EE08142C40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rialPPTTemplate</Template>
  <TotalTime>8765</TotalTime>
  <Words>461</Words>
  <Application>Microsoft Office PowerPoint</Application>
  <PresentationFormat>On-screen Show (16:9)</PresentationFormat>
  <Paragraphs>68</Paragraphs>
  <Slides>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1" baseType="lpstr">
      <vt:lpstr>Zurich Sans</vt:lpstr>
      <vt:lpstr>Zurich Sans Light</vt:lpstr>
      <vt:lpstr>Arial</vt:lpstr>
      <vt:lpstr>Courier New</vt:lpstr>
      <vt:lpstr>Frutiger 45 Light</vt:lpstr>
      <vt:lpstr>Frutiger 55 Roman</vt:lpstr>
      <vt:lpstr>Symbol</vt:lpstr>
      <vt:lpstr>Zurich horitzontal logo</vt:lpstr>
      <vt:lpstr>think-cell Slide</vt:lpstr>
      <vt:lpstr>Zurich Asia Digital Native Platform</vt:lpstr>
      <vt:lpstr>End-to-end greenfields retail IT landscape will be established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Rajat Taneja</dc:creator>
  <cp:keywords/>
  <dc:description/>
  <cp:lastModifiedBy>Rajat Taneja</cp:lastModifiedBy>
  <cp:revision>55</cp:revision>
  <cp:lastPrinted>2020-10-16T06:45:11Z</cp:lastPrinted>
  <dcterms:created xsi:type="dcterms:W3CDTF">2021-08-18T23:55:57Z</dcterms:created>
  <dcterms:modified xsi:type="dcterms:W3CDTF">2022-08-15T22:41:3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ZurichVersion">
    <vt:lpwstr>5</vt:lpwstr>
  </property>
  <property fmtid="{D5CDD505-2E9C-101B-9397-08002B2CF9AE}" pid="3" name="ContentTypeId">
    <vt:lpwstr>0x0101005F7B9B00E8142F4EAAB25F7E2C4C21FA</vt:lpwstr>
  </property>
  <property fmtid="{D5CDD505-2E9C-101B-9397-08002B2CF9AE}" pid="4" name="Data Classification String">
    <vt:lpwstr>INTERNAL USE ONLY</vt:lpwstr>
  </property>
  <property fmtid="{D5CDD505-2E9C-101B-9397-08002B2CF9AE}" pid="5" name="Data Classification Identifier">
    <vt:lpwstr>1dd101ec51a2f103d0d6b0764239b8736c38aace</vt:lpwstr>
  </property>
  <property fmtid="{D5CDD505-2E9C-101B-9397-08002B2CF9AE}" pid="6" name="MSIP_Label_407e232e-ec95-40fd-afb0-3c2f06064326_Enabled">
    <vt:lpwstr>true</vt:lpwstr>
  </property>
  <property fmtid="{D5CDD505-2E9C-101B-9397-08002B2CF9AE}" pid="7" name="MSIP_Label_407e232e-ec95-40fd-afb0-3c2f06064326_SetDate">
    <vt:lpwstr>2022-01-18T09:06:34Z</vt:lpwstr>
  </property>
  <property fmtid="{D5CDD505-2E9C-101B-9397-08002B2CF9AE}" pid="8" name="MSIP_Label_407e232e-ec95-40fd-afb0-3c2f06064326_Method">
    <vt:lpwstr>Privileged</vt:lpwstr>
  </property>
  <property fmtid="{D5CDD505-2E9C-101B-9397-08002B2CF9AE}" pid="9" name="MSIP_Label_407e232e-ec95-40fd-afb0-3c2f06064326_Name">
    <vt:lpwstr>407e232e-ec95-40fd-afb0-3c2f06064326</vt:lpwstr>
  </property>
  <property fmtid="{D5CDD505-2E9C-101B-9397-08002B2CF9AE}" pid="10" name="MSIP_Label_407e232e-ec95-40fd-afb0-3c2f06064326_SiteId">
    <vt:lpwstr>473672ba-cd07-4371-a2ae-788b4c61840e</vt:lpwstr>
  </property>
  <property fmtid="{D5CDD505-2E9C-101B-9397-08002B2CF9AE}" pid="11" name="MSIP_Label_407e232e-ec95-40fd-afb0-3c2f06064326_ActionId">
    <vt:lpwstr>9fbe63a8-9c40-4778-b26a-cb01cb581afa</vt:lpwstr>
  </property>
  <property fmtid="{D5CDD505-2E9C-101B-9397-08002B2CF9AE}" pid="12" name="MSIP_Label_407e232e-ec95-40fd-afb0-3c2f06064326_ContentBits">
    <vt:lpwstr>2</vt:lpwstr>
  </property>
  <property fmtid="{D5CDD505-2E9C-101B-9397-08002B2CF9AE}" pid="13" name="MSIP_Label_0837e400-a07c-4077-92e8-ea6f7a01e9ad_Enabled">
    <vt:lpwstr>true</vt:lpwstr>
  </property>
  <property fmtid="{D5CDD505-2E9C-101B-9397-08002B2CF9AE}" pid="14" name="MSIP_Label_0837e400-a07c-4077-92e8-ea6f7a01e9ad_SetDate">
    <vt:lpwstr>2022-04-06T05:22:42Z</vt:lpwstr>
  </property>
  <property fmtid="{D5CDD505-2E9C-101B-9397-08002B2CF9AE}" pid="15" name="MSIP_Label_0837e400-a07c-4077-92e8-ea6f7a01e9ad_Method">
    <vt:lpwstr>Privileged</vt:lpwstr>
  </property>
  <property fmtid="{D5CDD505-2E9C-101B-9397-08002B2CF9AE}" pid="16" name="MSIP_Label_0837e400-a07c-4077-92e8-ea6f7a01e9ad_Name">
    <vt:lpwstr>0837e400-a07c-4077-92e8-ea6f7a01e9ad</vt:lpwstr>
  </property>
  <property fmtid="{D5CDD505-2E9C-101B-9397-08002B2CF9AE}" pid="17" name="MSIP_Label_0837e400-a07c-4077-92e8-ea6f7a01e9ad_SiteId">
    <vt:lpwstr>95d1d810-50cf-4169-8565-6bfba279a0cd</vt:lpwstr>
  </property>
  <property fmtid="{D5CDD505-2E9C-101B-9397-08002B2CF9AE}" pid="18" name="MSIP_Label_0837e400-a07c-4077-92e8-ea6f7a01e9ad_ActionId">
    <vt:lpwstr>4bd80373-36a8-425e-8705-b5f55da4fd8c</vt:lpwstr>
  </property>
  <property fmtid="{D5CDD505-2E9C-101B-9397-08002B2CF9AE}" pid="19" name="MSIP_Label_0837e400-a07c-4077-92e8-ea6f7a01e9ad_ContentBits">
    <vt:lpwstr>0</vt:lpwstr>
  </property>
</Properties>
</file>